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wmf" ContentType="image/x-wm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5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919" r:id="rId2"/>
    <p:sldMasterId id="2147483925" r:id="rId3"/>
    <p:sldMasterId id="2147483938" r:id="rId4"/>
    <p:sldMasterId id="2147483950" r:id="rId5"/>
  </p:sldMasterIdLst>
  <p:notesMasterIdLst>
    <p:notesMasterId r:id="rId38"/>
  </p:notesMasterIdLst>
  <p:handoutMasterIdLst>
    <p:handoutMasterId r:id="rId39"/>
  </p:handoutMasterIdLst>
  <p:sldIdLst>
    <p:sldId id="256" r:id="rId6"/>
    <p:sldId id="266" r:id="rId7"/>
    <p:sldId id="353" r:id="rId8"/>
    <p:sldId id="405" r:id="rId9"/>
    <p:sldId id="358" r:id="rId10"/>
    <p:sldId id="359" r:id="rId11"/>
    <p:sldId id="399" r:id="rId12"/>
    <p:sldId id="363" r:id="rId13"/>
    <p:sldId id="364" r:id="rId14"/>
    <p:sldId id="367" r:id="rId15"/>
    <p:sldId id="379" r:id="rId16"/>
    <p:sldId id="376" r:id="rId17"/>
    <p:sldId id="396" r:id="rId18"/>
    <p:sldId id="402" r:id="rId19"/>
    <p:sldId id="368" r:id="rId20"/>
    <p:sldId id="406" r:id="rId21"/>
    <p:sldId id="378" r:id="rId22"/>
    <p:sldId id="388" r:id="rId23"/>
    <p:sldId id="371" r:id="rId24"/>
    <p:sldId id="398" r:id="rId25"/>
    <p:sldId id="369" r:id="rId26"/>
    <p:sldId id="381" r:id="rId27"/>
    <p:sldId id="404" r:id="rId28"/>
    <p:sldId id="374" r:id="rId29"/>
    <p:sldId id="389" r:id="rId30"/>
    <p:sldId id="392" r:id="rId31"/>
    <p:sldId id="383" r:id="rId32"/>
    <p:sldId id="370" r:id="rId33"/>
    <p:sldId id="385" r:id="rId34"/>
    <p:sldId id="384" r:id="rId35"/>
    <p:sldId id="391" r:id="rId36"/>
    <p:sldId id="390" r:id="rId37"/>
  </p:sldIdLst>
  <p:sldSz cx="9144000" cy="6858000" type="screen4x3"/>
  <p:notesSz cx="6640513" cy="9904413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Tahoma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Tahoma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Tahoma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Tahoma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400" b="1" kern="1200">
        <a:solidFill>
          <a:schemeClr val="tx1"/>
        </a:solidFill>
        <a:latin typeface="Tahoma" pitchFamily="34" charset="0"/>
        <a:ea typeface="+mn-ea"/>
        <a:cs typeface="Arial" charset="0"/>
      </a:defRPr>
    </a:lvl5pPr>
    <a:lvl6pPr marL="2286000" algn="l" defTabSz="914400" rtl="0" eaLnBrk="1" latinLnBrk="0" hangingPunct="1">
      <a:defRPr sz="2400" b="1" kern="1200">
        <a:solidFill>
          <a:schemeClr val="tx1"/>
        </a:solidFill>
        <a:latin typeface="Tahoma" pitchFamily="34" charset="0"/>
        <a:ea typeface="+mn-ea"/>
        <a:cs typeface="Arial" charset="0"/>
      </a:defRPr>
    </a:lvl6pPr>
    <a:lvl7pPr marL="2743200" algn="l" defTabSz="914400" rtl="0" eaLnBrk="1" latinLnBrk="0" hangingPunct="1">
      <a:defRPr sz="2400" b="1" kern="1200">
        <a:solidFill>
          <a:schemeClr val="tx1"/>
        </a:solidFill>
        <a:latin typeface="Tahoma" pitchFamily="34" charset="0"/>
        <a:ea typeface="+mn-ea"/>
        <a:cs typeface="Arial" charset="0"/>
      </a:defRPr>
    </a:lvl7pPr>
    <a:lvl8pPr marL="3200400" algn="l" defTabSz="914400" rtl="0" eaLnBrk="1" latinLnBrk="0" hangingPunct="1">
      <a:defRPr sz="2400" b="1" kern="1200">
        <a:solidFill>
          <a:schemeClr val="tx1"/>
        </a:solidFill>
        <a:latin typeface="Tahoma" pitchFamily="34" charset="0"/>
        <a:ea typeface="+mn-ea"/>
        <a:cs typeface="Arial" charset="0"/>
      </a:defRPr>
    </a:lvl8pPr>
    <a:lvl9pPr marL="3657600" algn="l" defTabSz="914400" rtl="0" eaLnBrk="1" latinLnBrk="0" hangingPunct="1">
      <a:defRPr sz="2400" b="1" kern="1200">
        <a:solidFill>
          <a:schemeClr val="tx1"/>
        </a:solidFill>
        <a:latin typeface="Tahoma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CC"/>
    <a:srgbClr val="800000"/>
    <a:srgbClr val="9BFFE5"/>
    <a:srgbClr val="0000CC"/>
    <a:srgbClr val="FFCC66"/>
    <a:srgbClr val="FF3300"/>
    <a:srgbClr val="FF6600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500" autoAdjust="0"/>
    <p:restoredTop sz="92705" autoAdjust="0"/>
  </p:normalViewPr>
  <p:slideViewPr>
    <p:cSldViewPr>
      <p:cViewPr>
        <p:scale>
          <a:sx n="60" d="100"/>
          <a:sy n="60" d="100"/>
        </p:scale>
        <p:origin x="-740" y="-48"/>
      </p:cViewPr>
      <p:guideLst>
        <p:guide orient="horz" pos="346"/>
        <p:guide pos="40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2012"/>
    </p:cViewPr>
  </p:sorterViewPr>
  <p:notesViewPr>
    <p:cSldViewPr>
      <p:cViewPr varScale="1">
        <p:scale>
          <a:sx n="40" d="100"/>
          <a:sy n="40" d="100"/>
        </p:scale>
        <p:origin x="-2180" y="-72"/>
      </p:cViewPr>
      <p:guideLst>
        <p:guide orient="horz" pos="3119"/>
        <p:guide pos="209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handoutMaster" Target="handoutMasters/handoutMaster1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41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78138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62375" y="0"/>
            <a:ext cx="2878138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560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09113"/>
            <a:ext cx="2878138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2560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62375" y="9409113"/>
            <a:ext cx="2878138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cs typeface="+mn-cs"/>
              </a:defRPr>
            </a:lvl1pPr>
          </a:lstStyle>
          <a:p>
            <a:pPr>
              <a:defRPr/>
            </a:pPr>
            <a:fld id="{08040FA0-EAD1-40D9-9FC1-A195C0C57532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0483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78138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62375" y="0"/>
            <a:ext cx="2878138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796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44550" y="742950"/>
            <a:ext cx="4953000" cy="37147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85825" y="4705350"/>
            <a:ext cx="4868863" cy="44561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Klicken Sie, um die Formate des Vorlagentextes zu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1536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09113"/>
            <a:ext cx="2878138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 b="0"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536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62375" y="9409113"/>
            <a:ext cx="2878138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cs typeface="+mn-cs"/>
              </a:defRPr>
            </a:lvl1pPr>
          </a:lstStyle>
          <a:p>
            <a:pPr>
              <a:defRPr/>
            </a:pPr>
            <a:fld id="{8741EE74-963A-442A-A697-855110EAA6F3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075969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07AA5FD2-EE82-47DD-8049-412D294EA875}" type="slidenum">
              <a:rPr lang="en-US" smtClean="0"/>
              <a:pPr>
                <a:defRPr/>
              </a:pPr>
              <a:t>1</a:t>
            </a:fld>
            <a:endParaRPr lang="en-US" smtClean="0"/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r>
              <a:rPr lang="en-US" altLang="de-DE" dirty="0" smtClean="0"/>
              <a:t>In this presentation, I</a:t>
            </a:r>
            <a:r>
              <a:rPr lang="en-US" altLang="de-DE" baseline="0" dirty="0" smtClean="0"/>
              <a:t> want to report on two things:</a:t>
            </a:r>
          </a:p>
          <a:p>
            <a:pPr marL="171450" indent="-171450" eaLnBrk="1" hangingPunct="1">
              <a:buFontTx/>
              <a:buChar char="-"/>
            </a:pPr>
            <a:r>
              <a:rPr lang="en-US" altLang="de-DE" baseline="0" dirty="0" smtClean="0"/>
              <a:t>General concept of semester projects at our institute</a:t>
            </a:r>
          </a:p>
          <a:p>
            <a:pPr marL="171450" indent="-171450" eaLnBrk="1" hangingPunct="1">
              <a:buFontTx/>
              <a:buChar char="-"/>
            </a:pPr>
            <a:r>
              <a:rPr lang="en-US" altLang="de-DE" baseline="0" dirty="0" smtClean="0"/>
              <a:t>Experience with a special project organized in my group </a:t>
            </a:r>
            <a:endParaRPr lang="en-US" altLang="de-DE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67261C-910D-49B7-8FBA-FDA3510817A7}" type="slidenum">
              <a:rPr lang="de-DE" smtClean="0"/>
              <a:pPr>
                <a:defRPr/>
              </a:pPr>
              <a:t>2</a:t>
            </a:fld>
            <a:endParaRPr lang="de-DE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67261C-910D-49B7-8FBA-FDA3510817A7}" type="slidenum">
              <a:rPr lang="de-DE" smtClean="0"/>
              <a:pPr>
                <a:defRPr/>
              </a:pPr>
              <a:t>6</a:t>
            </a:fld>
            <a:endParaRPr lang="de-DE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42963" y="742950"/>
            <a:ext cx="4954587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1E7D22E-2FCF-4181-8686-08BDCDF94062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67261C-910D-49B7-8FBA-FDA3510817A7}" type="slidenum">
              <a:rPr lang="de-DE" smtClean="0">
                <a:solidFill>
                  <a:prstClr val="black"/>
                </a:solidFill>
              </a:rPr>
              <a:pPr>
                <a:defRPr/>
              </a:pPr>
              <a:t>12</a:t>
            </a:fld>
            <a:endParaRPr lang="de-DE" smtClean="0">
              <a:solidFill>
                <a:prstClr val="black"/>
              </a:solidFill>
            </a:endParaRPr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67261C-910D-49B7-8FBA-FDA3510817A7}" type="slidenum">
              <a:rPr lang="de-DE" smtClean="0"/>
              <a:pPr>
                <a:defRPr/>
              </a:pPr>
              <a:t>15</a:t>
            </a:fld>
            <a:endParaRPr lang="de-DE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67261C-910D-49B7-8FBA-FDA3510817A7}" type="slidenum">
              <a:rPr lang="de-DE" smtClean="0"/>
              <a:pPr>
                <a:defRPr/>
              </a:pPr>
              <a:t>21</a:t>
            </a:fld>
            <a:endParaRPr lang="de-DE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167261C-910D-49B7-8FBA-FDA3510817A7}" type="slidenum">
              <a:rPr lang="de-DE" smtClean="0"/>
              <a:pPr>
                <a:defRPr/>
              </a:pPr>
              <a:t>28</a:t>
            </a:fld>
            <a:endParaRPr lang="de-DE" smtClean="0"/>
          </a:p>
        </p:txBody>
      </p:sp>
      <p:sp>
        <p:nvSpPr>
          <p:cNvPr id="35843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584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10.pn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image" Target="../media/image2.emf"/><Relationship Id="rId5" Type="http://schemas.openxmlformats.org/officeDocument/2006/relationships/tags" Target="../tags/tag13.xml"/><Relationship Id="rId10" Type="http://schemas.openxmlformats.org/officeDocument/2006/relationships/oleObject" Target="../embeddings/oleObject2.bin"/><Relationship Id="rId4" Type="http://schemas.openxmlformats.org/officeDocument/2006/relationships/tags" Target="../tags/tag12.xml"/><Relationship Id="rId9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8.xml"/><Relationship Id="rId7" Type="http://schemas.openxmlformats.org/officeDocument/2006/relationships/oleObject" Target="../embeddings/oleObject3.bin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0.xml"/><Relationship Id="rId4" Type="http://schemas.openxmlformats.org/officeDocument/2006/relationships/tags" Target="../tags/tag19.xml"/><Relationship Id="rId9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image" Target="../media/image10.png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tags" Target="../tags/tag25.xml"/><Relationship Id="rId11" Type="http://schemas.openxmlformats.org/officeDocument/2006/relationships/image" Target="../media/image2.emf"/><Relationship Id="rId5" Type="http://schemas.openxmlformats.org/officeDocument/2006/relationships/tags" Target="../tags/tag24.xml"/><Relationship Id="rId10" Type="http://schemas.openxmlformats.org/officeDocument/2006/relationships/oleObject" Target="../embeddings/oleObject4.bin"/><Relationship Id="rId4" Type="http://schemas.openxmlformats.org/officeDocument/2006/relationships/tags" Target="../tags/tag23.xml"/><Relationship Id="rId9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9.xml"/><Relationship Id="rId7" Type="http://schemas.openxmlformats.org/officeDocument/2006/relationships/oleObject" Target="../embeddings/oleObject5.bin"/><Relationship Id="rId2" Type="http://schemas.openxmlformats.org/officeDocument/2006/relationships/tags" Target="../tags/tag28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31.xml"/><Relationship Id="rId4" Type="http://schemas.openxmlformats.org/officeDocument/2006/relationships/tags" Target="../tags/tag30.xml"/><Relationship Id="rId9" Type="http://schemas.openxmlformats.org/officeDocument/2006/relationships/image" Target="../media/image10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wmf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gif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3.emf"/><Relationship Id="rId2" Type="http://schemas.openxmlformats.org/officeDocument/2006/relationships/tags" Target="../tags/tag3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1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8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image" Target="../media/image3.emf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image" Target="../media/image2.emf"/><Relationship Id="rId2" Type="http://schemas.openxmlformats.org/officeDocument/2006/relationships/tags" Target="../tags/tag36.xml"/><Relationship Id="rId1" Type="http://schemas.openxmlformats.org/officeDocument/2006/relationships/vmlDrawing" Target="../drawings/vmlDrawing9.vml"/><Relationship Id="rId6" Type="http://schemas.openxmlformats.org/officeDocument/2006/relationships/tags" Target="../tags/tag40.xml"/><Relationship Id="rId11" Type="http://schemas.openxmlformats.org/officeDocument/2006/relationships/oleObject" Target="../embeddings/oleObject9.bin"/><Relationship Id="rId5" Type="http://schemas.openxmlformats.org/officeDocument/2006/relationships/tags" Target="../tags/tag39.xml"/><Relationship Id="rId10" Type="http://schemas.openxmlformats.org/officeDocument/2006/relationships/image" Target="../media/image12.jpeg"/><Relationship Id="rId4" Type="http://schemas.openxmlformats.org/officeDocument/2006/relationships/tags" Target="../tags/tag38.xml"/><Relationship Id="rId9" Type="http://schemas.openxmlformats.org/officeDocument/2006/relationships/slideMaster" Target="../slideMasters/slideMaster5.xml"/><Relationship Id="rId14" Type="http://schemas.openxmlformats.org/officeDocument/2006/relationships/image" Target="../media/image9.gi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2.emf"/><Relationship Id="rId2" Type="http://schemas.openxmlformats.org/officeDocument/2006/relationships/tags" Target="../tags/tag43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13.jpeg"/><Relationship Id="rId4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2.emf"/><Relationship Id="rId2" Type="http://schemas.openxmlformats.org/officeDocument/2006/relationships/tags" Target="../tags/tag45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14.jpeg"/><Relationship Id="rId4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2.emf"/><Relationship Id="rId2" Type="http://schemas.openxmlformats.org/officeDocument/2006/relationships/tags" Target="../tags/tag50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7" Type="http://schemas.openxmlformats.org/officeDocument/2006/relationships/image" Target="../media/image2.emf"/><Relationship Id="rId2" Type="http://schemas.openxmlformats.org/officeDocument/2006/relationships/tags" Target="../tags/tag53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1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5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17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2438400"/>
            <a:ext cx="9009063" cy="1052513"/>
            <a:chOff x="0" y="1536"/>
            <a:chExt cx="5675" cy="663"/>
          </a:xfrm>
        </p:grpSpPr>
        <p:grpSp>
          <p:nvGrpSpPr>
            <p:cNvPr id="5" name="Group 3"/>
            <p:cNvGrpSpPr>
              <a:grpSpLocks/>
            </p:cNvGrpSpPr>
            <p:nvPr/>
          </p:nvGrpSpPr>
          <p:grpSpPr bwMode="auto">
            <a:xfrm>
              <a:off x="185" y="1604"/>
              <a:ext cx="449" cy="299"/>
              <a:chOff x="720" y="336"/>
              <a:chExt cx="624" cy="432"/>
            </a:xfrm>
          </p:grpSpPr>
          <p:sp>
            <p:nvSpPr>
              <p:cNvPr id="12" name="Rectangle 4"/>
              <p:cNvSpPr>
                <a:spLocks noChangeArrowheads="1"/>
              </p:cNvSpPr>
              <p:nvPr/>
            </p:nvSpPr>
            <p:spPr bwMode="auto">
              <a:xfrm>
                <a:off x="720" y="336"/>
                <a:ext cx="384" cy="432"/>
              </a:xfrm>
              <a:prstGeom prst="rect">
                <a:avLst/>
              </a:prstGeom>
              <a:solidFill>
                <a:schemeClr val="folHlink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de-DE">
                  <a:cs typeface="+mn-cs"/>
                </a:endParaRPr>
              </a:p>
            </p:txBody>
          </p:sp>
          <p:sp>
            <p:nvSpPr>
              <p:cNvPr id="13" name="Rectangle 5"/>
              <p:cNvSpPr>
                <a:spLocks noChangeArrowheads="1"/>
              </p:cNvSpPr>
              <p:nvPr/>
            </p:nvSpPr>
            <p:spPr bwMode="auto">
              <a:xfrm>
                <a:off x="1056" y="336"/>
                <a:ext cx="288" cy="432"/>
              </a:xfrm>
              <a:prstGeom prst="rect">
                <a:avLst/>
              </a:prstGeom>
              <a:gradFill rotWithShape="0">
                <a:gsLst>
                  <a:gs pos="0">
                    <a:schemeClr val="folHlink"/>
                  </a:gs>
                  <a:gs pos="100000">
                    <a:schemeClr val="bg1"/>
                  </a:gs>
                </a:gsLst>
                <a:lin ang="0" scaled="1"/>
              </a:gra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de-DE">
                  <a:cs typeface="+mn-cs"/>
                </a:endParaRPr>
              </a:p>
            </p:txBody>
          </p:sp>
        </p:grpSp>
        <p:grpSp>
          <p:nvGrpSpPr>
            <p:cNvPr id="6" name="Group 6"/>
            <p:cNvGrpSpPr>
              <a:grpSpLocks/>
            </p:cNvGrpSpPr>
            <p:nvPr/>
          </p:nvGrpSpPr>
          <p:grpSpPr bwMode="auto">
            <a:xfrm>
              <a:off x="263" y="1870"/>
              <a:ext cx="466" cy="299"/>
              <a:chOff x="912" y="2640"/>
              <a:chExt cx="672" cy="432"/>
            </a:xfrm>
          </p:grpSpPr>
          <p:sp>
            <p:nvSpPr>
              <p:cNvPr id="10" name="Rectangle 7"/>
              <p:cNvSpPr>
                <a:spLocks noChangeArrowheads="1"/>
              </p:cNvSpPr>
              <p:nvPr/>
            </p:nvSpPr>
            <p:spPr bwMode="auto">
              <a:xfrm>
                <a:off x="912" y="2640"/>
                <a:ext cx="384" cy="432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de-DE">
                  <a:cs typeface="+mn-cs"/>
                </a:endParaRPr>
              </a:p>
            </p:txBody>
          </p:sp>
          <p:sp>
            <p:nvSpPr>
              <p:cNvPr id="11" name="Rectangle 8"/>
              <p:cNvSpPr>
                <a:spLocks noChangeArrowheads="1"/>
              </p:cNvSpPr>
              <p:nvPr/>
            </p:nvSpPr>
            <p:spPr bwMode="auto">
              <a:xfrm>
                <a:off x="1248" y="2640"/>
                <a:ext cx="336" cy="432"/>
              </a:xfrm>
              <a:prstGeom prst="rect">
                <a:avLst/>
              </a:prstGeom>
              <a:gradFill rotWithShape="0">
                <a:gsLst>
                  <a:gs pos="0">
                    <a:schemeClr val="accent2"/>
                  </a:gs>
                  <a:gs pos="100000">
                    <a:schemeClr val="bg1"/>
                  </a:gs>
                </a:gsLst>
                <a:lin ang="0" scaled="1"/>
              </a:gra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de-DE">
                  <a:cs typeface="+mn-cs"/>
                </a:endParaRPr>
              </a:p>
            </p:txBody>
          </p:sp>
        </p:grpSp>
        <p:sp>
          <p:nvSpPr>
            <p:cNvPr id="7" name="Rectangle 9"/>
            <p:cNvSpPr>
              <a:spLocks noChangeArrowheads="1"/>
            </p:cNvSpPr>
            <p:nvPr/>
          </p:nvSpPr>
          <p:spPr bwMode="auto">
            <a:xfrm>
              <a:off x="0" y="1824"/>
              <a:ext cx="353" cy="266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>
                <a:cs typeface="+mn-cs"/>
              </a:endParaRPr>
            </a:p>
          </p:txBody>
        </p:sp>
        <p:sp>
          <p:nvSpPr>
            <p:cNvPr id="8" name="Rectangle 10"/>
            <p:cNvSpPr>
              <a:spLocks noChangeArrowheads="1"/>
            </p:cNvSpPr>
            <p:nvPr/>
          </p:nvSpPr>
          <p:spPr bwMode="auto">
            <a:xfrm>
              <a:off x="400" y="1536"/>
              <a:ext cx="20" cy="663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>
                <a:cs typeface="+mn-cs"/>
              </a:endParaRPr>
            </a:p>
          </p:txBody>
        </p:sp>
        <p:sp>
          <p:nvSpPr>
            <p:cNvPr id="9" name="Rectangle 11"/>
            <p:cNvSpPr>
              <a:spLocks noChangeArrowheads="1"/>
            </p:cNvSpPr>
            <p:nvPr/>
          </p:nvSpPr>
          <p:spPr bwMode="auto">
            <a:xfrm flipV="1">
              <a:off x="199" y="2054"/>
              <a:ext cx="5476" cy="35"/>
            </a:xfrm>
            <a:prstGeom prst="rect">
              <a:avLst/>
            </a:pr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>
                <a:cs typeface="+mn-cs"/>
              </a:endParaRPr>
            </a:p>
          </p:txBody>
        </p:sp>
      </p:grpSp>
      <p:pic>
        <p:nvPicPr>
          <p:cNvPr id="14" name="Picture 17" descr="husiegel_bw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4325" y="260350"/>
            <a:ext cx="968375" cy="97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8"/>
          <p:cNvSpPr>
            <a:spLocks noChangeArrowheads="1"/>
          </p:cNvSpPr>
          <p:nvPr userDrawn="1"/>
        </p:nvSpPr>
        <p:spPr bwMode="gray">
          <a:xfrm>
            <a:off x="442913" y="6400800"/>
            <a:ext cx="8226425" cy="31750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bg2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cs typeface="+mn-cs"/>
            </a:endParaRPr>
          </a:p>
        </p:txBody>
      </p:sp>
      <p:sp>
        <p:nvSpPr>
          <p:cNvPr id="6156" name="Rectangle 12"/>
          <p:cNvSpPr>
            <a:spLocks noGrp="1" noChangeArrowheads="1"/>
          </p:cNvSpPr>
          <p:nvPr>
            <p:ph type="ctrTitle"/>
          </p:nvPr>
        </p:nvSpPr>
        <p:spPr>
          <a:xfrm>
            <a:off x="990600" y="1828800"/>
            <a:ext cx="7772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Klicken Sie, um das Titelformat zu bearbeiten</a:t>
            </a:r>
          </a:p>
        </p:txBody>
      </p:sp>
      <p:sp>
        <p:nvSpPr>
          <p:cNvPr id="6157" name="Rectangle 1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de-DE"/>
              <a:t>Klicken Sie, um das Format des Untertitelmasters zu bearbeiten</a:t>
            </a:r>
          </a:p>
        </p:txBody>
      </p:sp>
      <p:sp>
        <p:nvSpPr>
          <p:cNvPr id="16" name="Rectangle 14"/>
          <p:cNvSpPr>
            <a:spLocks noGrp="1" noChangeArrowheads="1"/>
          </p:cNvSpPr>
          <p:nvPr>
            <p:ph type="dt" sz="half" idx="10"/>
          </p:nvPr>
        </p:nvSpPr>
        <p:spPr>
          <a:xfrm>
            <a:off x="990600" y="6248400"/>
            <a:ext cx="1905000" cy="4572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7" name="Rectangle 15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429000" y="6248400"/>
            <a:ext cx="28956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400" b="0">
                <a:solidFill>
                  <a:schemeClr val="bg2"/>
                </a:solidFill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58000" y="6248400"/>
            <a:ext cx="1905000" cy="4572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A3E1859A-948A-4906-9623-1F0C59607CC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2037776"/>
      </p:ext>
    </p:extLst>
  </p:cSld>
  <p:clrMapOvr>
    <a:masterClrMapping/>
  </p:clrMapOvr>
  <p:transition>
    <p:strips dir="r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D63092-48EF-4E45-8250-21FEE65FDD0D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27949493"/>
      </p:ext>
    </p:extLst>
  </p:cSld>
  <p:clrMapOvr>
    <a:masterClrMapping/>
  </p:clrMapOvr>
  <p:transition>
    <p:strips dir="r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004050" y="617538"/>
            <a:ext cx="1951038" cy="551497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150938" y="617538"/>
            <a:ext cx="5700712" cy="551497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AC3A6C-1CB3-4413-AEB1-038B81C8E24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41052226"/>
      </p:ext>
    </p:extLst>
  </p:cSld>
  <p:clrMapOvr>
    <a:masterClrMapping/>
  </p:clrMapOvr>
  <p:transition>
    <p:strips dir="r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1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351"/>
          <p:cNvGrpSpPr/>
          <p:nvPr userDrawn="1">
            <p:custDataLst>
              <p:tags r:id="rId3"/>
            </p:custDataLst>
          </p:nvPr>
        </p:nvGrpSpPr>
        <p:grpSpPr>
          <a:xfrm>
            <a:off x="5337165" y="3258545"/>
            <a:ext cx="3416820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8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31966" y="3617150"/>
            <a:ext cx="393216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algn="just" defTabSz="1042966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prstClr val="white"/>
                </a:solidFill>
                <a:latin typeface="Arial"/>
                <a:cs typeface="Arial"/>
              </a:rPr>
              <a:t>Über</a:t>
            </a:r>
            <a:r>
              <a:rPr lang="en-US" sz="1800" dirty="0">
                <a:solidFill>
                  <a:prstClr val="white"/>
                </a:solidFill>
                <a:latin typeface="Arial"/>
                <a:cs typeface="Arial"/>
              </a:rPr>
              <a:t> </a:t>
            </a:r>
            <a:r>
              <a:rPr lang="en-US" sz="1800" dirty="0" err="1">
                <a:solidFill>
                  <a:prstClr val="white"/>
                </a:solidFill>
                <a:latin typeface="Arial"/>
                <a:cs typeface="Arial"/>
              </a:rPr>
              <a:t>Capgemini</a:t>
            </a:r>
            <a:endParaRPr lang="en-US" sz="1000" b="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  <a:p>
            <a:pPr algn="just" defTabSz="957756" fontAlgn="auto">
              <a:spcBef>
                <a:spcPts val="0"/>
              </a:spcBef>
              <a:spcAft>
                <a:spcPts val="600"/>
              </a:spcAft>
            </a:pP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algn="just" defTabSz="957756" fontAlgn="auto">
              <a:spcBef>
                <a:spcPts val="0"/>
              </a:spcBef>
              <a:spcAft>
                <a:spcPts val="600"/>
              </a:spcAft>
            </a:pP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="0" baseline="300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="0" baseline="3000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algn="just" defTabSz="957756" fontAlgn="auto">
              <a:spcBef>
                <a:spcPts val="0"/>
              </a:spcBef>
              <a:spcAft>
                <a:spcPts val="600"/>
              </a:spcAft>
            </a:pP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b="0" i="1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b="0" i="1" baseline="300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b="0" i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b="0" i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b="0" i="1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kern="0" noProof="1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800977" y="3468294"/>
            <a:ext cx="479605" cy="522508"/>
          </a:xfrm>
          <a:prstGeom prst="rect">
            <a:avLst/>
          </a:prstGeom>
        </p:spPr>
      </p:pic>
      <p:sp>
        <p:nvSpPr>
          <p:cNvPr id="336" name="Rectangle 335"/>
          <p:cNvSpPr/>
          <p:nvPr userDrawn="1">
            <p:custDataLst>
              <p:tags r:id="rId5"/>
            </p:custDataLst>
          </p:nvPr>
        </p:nvSpPr>
        <p:spPr>
          <a:xfrm>
            <a:off x="5099001" y="6387244"/>
            <a:ext cx="4045000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 defTabSz="957756" fontAlgn="auto">
              <a:spcBef>
                <a:spcPts val="0"/>
              </a:spcBef>
              <a:spcAft>
                <a:spcPts val="0"/>
              </a:spcAft>
            </a:pPr>
            <a:r>
              <a:rPr lang="de-DE" sz="700" b="0" dirty="0">
                <a:solidFill>
                  <a:prstClr val="white"/>
                </a:solidFill>
                <a:latin typeface="Arial"/>
                <a:cs typeface="Arial"/>
              </a:rPr>
              <a:t>Die in der Präsentation enthaltenen Informationen sind Eigentum.</a:t>
            </a:r>
            <a:br>
              <a:rPr lang="de-DE" sz="700" b="0" dirty="0">
                <a:solidFill>
                  <a:prstClr val="white"/>
                </a:solidFill>
                <a:latin typeface="Arial"/>
                <a:cs typeface="Arial"/>
              </a:rPr>
            </a:br>
            <a:r>
              <a:rPr lang="de-DE" sz="700" b="0" dirty="0">
                <a:solidFill>
                  <a:prstClr val="white"/>
                </a:solidFill>
                <a:latin typeface="Arial"/>
                <a:cs typeface="Arial"/>
              </a:rPr>
              <a:t>Copyright © 2014 Capgemini. Alle Rechte vorbehalten.</a:t>
            </a:r>
          </a:p>
        </p:txBody>
      </p:sp>
      <p:sp>
        <p:nvSpPr>
          <p:cNvPr id="339" name="Rectangle 338"/>
          <p:cNvSpPr/>
          <p:nvPr userDrawn="1">
            <p:custDataLst>
              <p:tags r:id="rId6"/>
            </p:custDataLst>
          </p:nvPr>
        </p:nvSpPr>
        <p:spPr>
          <a:xfrm>
            <a:off x="5850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 defTabSz="957756" fontAlgn="auto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www.de.capgemini.com</a:t>
            </a:r>
          </a:p>
        </p:txBody>
      </p:sp>
    </p:spTree>
    <p:extLst>
      <p:ext uri="{BB962C8B-B14F-4D97-AF65-F5344CB8AC3E}">
        <p14:creationId xmlns:p14="http://schemas.microsoft.com/office/powerpoint/2010/main" val="30318644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germ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5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4879571" y="2940256"/>
            <a:ext cx="393216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algn="just" defTabSz="1042966" fontAlgn="auto">
              <a:spcBef>
                <a:spcPts val="0"/>
              </a:spcBef>
              <a:spcAft>
                <a:spcPts val="600"/>
              </a:spcAft>
              <a:defRPr/>
            </a:pPr>
            <a:r>
              <a:rPr lang="en-US" sz="1800" dirty="0" err="1">
                <a:solidFill>
                  <a:prstClr val="white"/>
                </a:solidFill>
                <a:latin typeface="Arial"/>
                <a:cs typeface="Arial"/>
              </a:rPr>
              <a:t>Über</a:t>
            </a:r>
            <a:r>
              <a:rPr lang="en-US" sz="1800" dirty="0">
                <a:solidFill>
                  <a:prstClr val="white"/>
                </a:solidFill>
                <a:latin typeface="Arial"/>
                <a:cs typeface="Arial"/>
              </a:rPr>
              <a:t> </a:t>
            </a:r>
            <a:r>
              <a:rPr lang="en-US" sz="1800" dirty="0" err="1">
                <a:solidFill>
                  <a:prstClr val="white"/>
                </a:solidFill>
                <a:latin typeface="Arial"/>
                <a:cs typeface="Arial"/>
              </a:rPr>
              <a:t>Capgemini</a:t>
            </a:r>
            <a:endParaRPr lang="en-US" sz="1000" b="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  <a:p>
            <a:pPr algn="just" defTabSz="957756" fontAlgn="auto">
              <a:spcBef>
                <a:spcPts val="0"/>
              </a:spcBef>
              <a:spcAft>
                <a:spcPts val="600"/>
              </a:spcAft>
            </a:pP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Mit über 130.000 Mitarbeitern in 44 Ländern ist </a:t>
            </a:r>
            <a:r>
              <a:rPr lang="de-DE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einer der weltweit führenden Anbieter von Management- und IT-Beratung, Technologie-Services sowie Outsourcing-Dienst-</a:t>
            </a:r>
            <a:r>
              <a:rPr lang="de-DE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leistungen</a:t>
            </a: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 Im Jahr 2012 betrug der Umsatz der </a:t>
            </a:r>
            <a:r>
              <a:rPr lang="de-DE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-Gruppe 10,3 Milliarden Euro. </a:t>
            </a:r>
          </a:p>
          <a:p>
            <a:pPr algn="just" defTabSz="957756" fontAlgn="auto">
              <a:spcBef>
                <a:spcPts val="0"/>
              </a:spcBef>
              <a:spcAft>
                <a:spcPts val="600"/>
              </a:spcAft>
            </a:pP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Gemeinsam mit seinen Kunden erstellt </a:t>
            </a:r>
            <a:r>
              <a:rPr lang="de-DE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Geschäfts- wie auch Technologielösungen, die passgenau auf die individuellen Anforderungen zugeschnitten sind. Auf der Grundlage seines weltweiten Liefermodells </a:t>
            </a:r>
            <a:r>
              <a:rPr lang="de-DE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de-DE" sz="1000" b="0" baseline="300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zeichnet sich </a:t>
            </a:r>
            <a:r>
              <a:rPr lang="de-DE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als multinationale Organisation durch seine besondere Art der Zusammenarbeit aus – die Collaborative Business </a:t>
            </a:r>
            <a:r>
              <a:rPr lang="de-DE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de-DE" sz="1000" b="0" baseline="3000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algn="just" defTabSz="957756" fontAlgn="auto">
              <a:spcBef>
                <a:spcPts val="0"/>
              </a:spcBef>
              <a:spcAft>
                <a:spcPts val="600"/>
              </a:spcAft>
            </a:pPr>
            <a:r>
              <a:rPr lang="de-DE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900" b="0" i="1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b="0" i="1" baseline="300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b="0" i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900" b="0" i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ist eine eingetragene Marke von </a:t>
            </a:r>
            <a:r>
              <a:rPr lang="de-DE" sz="900" b="0" i="1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apgemini</a:t>
            </a:r>
            <a:endParaRPr lang="en-US" sz="900" kern="0" noProof="1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4648582" y="2791400"/>
            <a:ext cx="479605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5099001" y="6387244"/>
            <a:ext cx="4045000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 defTabSz="957756" fontAlgn="auto">
              <a:spcBef>
                <a:spcPts val="0"/>
              </a:spcBef>
              <a:spcAft>
                <a:spcPts val="0"/>
              </a:spcAft>
            </a:pPr>
            <a:r>
              <a:rPr lang="de-DE" sz="700" b="0" dirty="0">
                <a:solidFill>
                  <a:prstClr val="white"/>
                </a:solidFill>
                <a:latin typeface="Arial"/>
                <a:cs typeface="Arial"/>
              </a:rPr>
              <a:t>Die in der Präsentation enthaltenen Informationen sind Eigentum.</a:t>
            </a:r>
            <a:br>
              <a:rPr lang="de-DE" sz="700" b="0" dirty="0">
                <a:solidFill>
                  <a:prstClr val="white"/>
                </a:solidFill>
                <a:latin typeface="Arial"/>
                <a:cs typeface="Arial"/>
              </a:rPr>
            </a:br>
            <a:r>
              <a:rPr lang="de-DE" sz="700" b="0" dirty="0">
                <a:solidFill>
                  <a:prstClr val="white"/>
                </a:solidFill>
                <a:latin typeface="Arial"/>
                <a:cs typeface="Arial"/>
              </a:rPr>
              <a:t>Copyright © 2014 Capgemini. Alle Rechte vorbehalten.</a:t>
            </a:r>
          </a:p>
        </p:txBody>
      </p:sp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5850584" y="5457935"/>
            <a:ext cx="3293416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 defTabSz="957756" fontAlgn="auto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www.de.capgemini.com</a:t>
            </a:r>
          </a:p>
        </p:txBody>
      </p:sp>
    </p:spTree>
    <p:extLst>
      <p:ext uri="{BB962C8B-B14F-4D97-AF65-F5344CB8AC3E}">
        <p14:creationId xmlns:p14="http://schemas.microsoft.com/office/powerpoint/2010/main" val="2612576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1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7" name="Object 33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9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Group 351"/>
          <p:cNvGrpSpPr/>
          <p:nvPr userDrawn="1">
            <p:custDataLst>
              <p:tags r:id="rId3"/>
            </p:custDataLst>
          </p:nvPr>
        </p:nvGrpSpPr>
        <p:grpSpPr>
          <a:xfrm>
            <a:off x="5337165" y="3258545"/>
            <a:ext cx="3416820" cy="2118522"/>
            <a:chOff x="5511798" y="3584333"/>
            <a:chExt cx="4818106" cy="2816468"/>
          </a:xfrm>
        </p:grpSpPr>
        <p:grpSp>
          <p:nvGrpSpPr>
            <p:cNvPr id="3" name="Group 54"/>
            <p:cNvGrpSpPr/>
            <p:nvPr userDrawn="1">
              <p:custDataLst>
                <p:tags r:id="rId7"/>
              </p:custDataLst>
            </p:nvPr>
          </p:nvGrpSpPr>
          <p:grpSpPr>
            <a:xfrm>
              <a:off x="5511798" y="3584333"/>
              <a:ext cx="4818106" cy="2816468"/>
              <a:chOff x="-6346822" y="2366960"/>
              <a:chExt cx="5613397" cy="3281360"/>
            </a:xfrm>
          </p:grpSpPr>
          <p:grpSp>
            <p:nvGrpSpPr>
              <p:cNvPr id="4" name="Group 205"/>
              <p:cNvGrpSpPr>
                <a:grpSpLocks/>
              </p:cNvGrpSpPr>
              <p:nvPr/>
            </p:nvGrpSpPr>
            <p:grpSpPr bwMode="auto">
              <a:xfrm>
                <a:off x="-6170610" y="2416173"/>
                <a:ext cx="5135561" cy="3197223"/>
                <a:chOff x="-3887" y="1522"/>
                <a:chExt cx="3235" cy="2014"/>
              </a:xfrm>
            </p:grpSpPr>
            <p:sp>
              <p:nvSpPr>
                <p:cNvPr id="135" name="Freeform 5"/>
                <p:cNvSpPr>
                  <a:spLocks noEditPoints="1"/>
                </p:cNvSpPr>
                <p:nvPr/>
              </p:nvSpPr>
              <p:spPr bwMode="auto">
                <a:xfrm>
                  <a:off x="-2017" y="3069"/>
                  <a:ext cx="137" cy="3"/>
                </a:xfrm>
                <a:custGeom>
                  <a:avLst/>
                  <a:gdLst/>
                  <a:ahLst/>
                  <a:cxnLst>
                    <a:cxn ang="0">
                      <a:pos x="58" y="1"/>
                    </a:cxn>
                    <a:cxn ang="0">
                      <a:pos x="58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8" y="0"/>
                    </a:cxn>
                    <a:cxn ang="0">
                      <a:pos x="58" y="0"/>
                    </a:cxn>
                  </a:cxnLst>
                  <a:rect l="0" t="0" r="r" b="b"/>
                  <a:pathLst>
                    <a:path w="58" h="1">
                      <a:moveTo>
                        <a:pt x="58" y="1"/>
                      </a:moveTo>
                      <a:cubicBezTo>
                        <a:pt x="58" y="0"/>
                        <a:pt x="58" y="0"/>
                        <a:pt x="58" y="0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moveTo>
                        <a:pt x="58" y="0"/>
                      </a:moveTo>
                      <a:cubicBezTo>
                        <a:pt x="58" y="0"/>
                        <a:pt x="58" y="0"/>
                        <a:pt x="5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36" name="Freeform 6"/>
                <p:cNvSpPr>
                  <a:spLocks/>
                </p:cNvSpPr>
                <p:nvPr/>
              </p:nvSpPr>
              <p:spPr bwMode="auto">
                <a:xfrm>
                  <a:off x="-2718" y="2861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37" name="Freeform 7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38" name="Freeform 8"/>
                <p:cNvSpPr>
                  <a:spLocks noEditPoints="1"/>
                </p:cNvSpPr>
                <p:nvPr/>
              </p:nvSpPr>
              <p:spPr bwMode="auto">
                <a:xfrm>
                  <a:off x="-2197" y="2223"/>
                  <a:ext cx="1257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230" y="0"/>
                    </a:cxn>
                    <a:cxn ang="0">
                      <a:pos x="228" y="0"/>
                    </a:cxn>
                    <a:cxn ang="0">
                      <a:pos x="228" y="1"/>
                    </a:cxn>
                    <a:cxn ang="0">
                      <a:pos x="230" y="1"/>
                    </a:cxn>
                    <a:cxn ang="0">
                      <a:pos x="230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6" y="0"/>
                    </a:cxn>
                    <a:cxn ang="0">
                      <a:pos x="436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62" y="0"/>
                    </a:cxn>
                    <a:cxn ang="0">
                      <a:pos x="458" y="0"/>
                    </a:cxn>
                    <a:cxn ang="0">
                      <a:pos x="459" y="1"/>
                    </a:cxn>
                    <a:cxn ang="0">
                      <a:pos x="462" y="1"/>
                    </a:cxn>
                    <a:cxn ang="0">
                      <a:pos x="462" y="0"/>
                    </a:cxn>
                    <a:cxn ang="0">
                      <a:pos x="530" y="0"/>
                    </a:cxn>
                    <a:cxn ang="0">
                      <a:pos x="530" y="0"/>
                    </a:cxn>
                    <a:cxn ang="0">
                      <a:pos x="530" y="1"/>
                    </a:cxn>
                    <a:cxn ang="0">
                      <a:pos x="531" y="1"/>
                    </a:cxn>
                    <a:cxn ang="0">
                      <a:pos x="530" y="0"/>
                    </a:cxn>
                  </a:cxnLst>
                  <a:rect l="0" t="0" r="r" b="b"/>
                  <a:pathLst>
                    <a:path w="5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230" y="0"/>
                      </a:moveTo>
                      <a:cubicBezTo>
                        <a:pt x="228" y="0"/>
                        <a:pt x="228" y="0"/>
                        <a:pt x="228" y="0"/>
                      </a:cubicBezTo>
                      <a:cubicBezTo>
                        <a:pt x="228" y="1"/>
                        <a:pt x="228" y="1"/>
                        <a:pt x="228" y="1"/>
                      </a:cubicBezTo>
                      <a:cubicBezTo>
                        <a:pt x="230" y="1"/>
                        <a:pt x="230" y="1"/>
                        <a:pt x="230" y="1"/>
                      </a:cubicBezTo>
                      <a:cubicBezTo>
                        <a:pt x="230" y="0"/>
                        <a:pt x="230" y="0"/>
                        <a:pt x="230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6" y="0"/>
                        <a:pt x="436" y="0"/>
                        <a:pt x="436" y="0"/>
                      </a:cubicBezTo>
                      <a:cubicBezTo>
                        <a:pt x="436" y="1"/>
                        <a:pt x="436" y="1"/>
                        <a:pt x="436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62" y="0"/>
                      </a:moveTo>
                      <a:cubicBezTo>
                        <a:pt x="458" y="0"/>
                        <a:pt x="458" y="0"/>
                        <a:pt x="458" y="0"/>
                      </a:cubicBezTo>
                      <a:cubicBezTo>
                        <a:pt x="458" y="0"/>
                        <a:pt x="458" y="0"/>
                        <a:pt x="459" y="1"/>
                      </a:cubicBezTo>
                      <a:cubicBezTo>
                        <a:pt x="462" y="1"/>
                        <a:pt x="462" y="1"/>
                        <a:pt x="462" y="1"/>
                      </a:cubicBezTo>
                      <a:cubicBezTo>
                        <a:pt x="462" y="0"/>
                        <a:pt x="462" y="0"/>
                        <a:pt x="462" y="0"/>
                      </a:cubicBezTo>
                      <a:moveTo>
                        <a:pt x="530" y="0"/>
                      </a:moveTo>
                      <a:cubicBezTo>
                        <a:pt x="530" y="0"/>
                        <a:pt x="530" y="0"/>
                        <a:pt x="530" y="0"/>
                      </a:cubicBezTo>
                      <a:cubicBezTo>
                        <a:pt x="530" y="1"/>
                        <a:pt x="530" y="1"/>
                        <a:pt x="530" y="1"/>
                      </a:cubicBezTo>
                      <a:cubicBezTo>
                        <a:pt x="531" y="1"/>
                        <a:pt x="531" y="1"/>
                        <a:pt x="531" y="1"/>
                      </a:cubicBezTo>
                      <a:cubicBezTo>
                        <a:pt x="530" y="0"/>
                        <a:pt x="530" y="0"/>
                        <a:pt x="53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39" name="Freeform 9"/>
                <p:cNvSpPr>
                  <a:spLocks noEditPoints="1"/>
                </p:cNvSpPr>
                <p:nvPr/>
              </p:nvSpPr>
              <p:spPr bwMode="auto">
                <a:xfrm>
                  <a:off x="-3755" y="2223"/>
                  <a:ext cx="74" cy="3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1" y="0"/>
                    </a:cxn>
                    <a:cxn ang="0">
                      <a:pos x="31" y="0"/>
                    </a:cxn>
                  </a:cxnLst>
                  <a:rect l="0" t="0" r="r" b="b"/>
                  <a:pathLst>
                    <a:path w="3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1" y="0"/>
                      </a:moveTo>
                      <a:cubicBezTo>
                        <a:pt x="31" y="0"/>
                        <a:pt x="31" y="0"/>
                        <a:pt x="3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0" name="Freeform 10"/>
                <p:cNvSpPr>
                  <a:spLocks noEditPoints="1"/>
                </p:cNvSpPr>
                <p:nvPr/>
              </p:nvSpPr>
              <p:spPr bwMode="auto">
                <a:xfrm>
                  <a:off x="-2264" y="1681"/>
                  <a:ext cx="1070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5" y="1"/>
                    </a:cxn>
                    <a:cxn ang="0">
                      <a:pos x="5" y="0"/>
                    </a:cxn>
                    <a:cxn ang="0">
                      <a:pos x="119" y="0"/>
                    </a:cxn>
                    <a:cxn ang="0">
                      <a:pos x="114" y="0"/>
                    </a:cxn>
                    <a:cxn ang="0">
                      <a:pos x="114" y="1"/>
                    </a:cxn>
                    <a:cxn ang="0">
                      <a:pos x="119" y="1"/>
                    </a:cxn>
                    <a:cxn ang="0">
                      <a:pos x="119" y="0"/>
                    </a:cxn>
                    <a:cxn ang="0">
                      <a:pos x="167" y="0"/>
                    </a:cxn>
                    <a:cxn ang="0">
                      <a:pos x="166" y="0"/>
                    </a:cxn>
                    <a:cxn ang="0">
                      <a:pos x="166" y="1"/>
                    </a:cxn>
                    <a:cxn ang="0">
                      <a:pos x="167" y="1"/>
                    </a:cxn>
                    <a:cxn ang="0">
                      <a:pos x="167" y="0"/>
                    </a:cxn>
                    <a:cxn ang="0">
                      <a:pos x="223" y="0"/>
                    </a:cxn>
                    <a:cxn ang="0">
                      <a:pos x="218" y="0"/>
                    </a:cxn>
                    <a:cxn ang="0">
                      <a:pos x="218" y="1"/>
                    </a:cxn>
                    <a:cxn ang="0">
                      <a:pos x="223" y="1"/>
                    </a:cxn>
                    <a:cxn ang="0">
                      <a:pos x="223" y="0"/>
                    </a:cxn>
                    <a:cxn ang="0">
                      <a:pos x="327" y="0"/>
                    </a:cxn>
                    <a:cxn ang="0">
                      <a:pos x="326" y="0"/>
                    </a:cxn>
                    <a:cxn ang="0">
                      <a:pos x="327" y="1"/>
                    </a:cxn>
                    <a:cxn ang="0">
                      <a:pos x="327" y="1"/>
                    </a:cxn>
                    <a:cxn ang="0">
                      <a:pos x="327" y="0"/>
                    </a:cxn>
                    <a:cxn ang="0">
                      <a:pos x="431" y="0"/>
                    </a:cxn>
                    <a:cxn ang="0">
                      <a:pos x="426" y="0"/>
                    </a:cxn>
                    <a:cxn ang="0">
                      <a:pos x="426" y="1"/>
                    </a:cxn>
                    <a:cxn ang="0">
                      <a:pos x="431" y="1"/>
                    </a:cxn>
                    <a:cxn ang="0">
                      <a:pos x="431" y="0"/>
                    </a:cxn>
                    <a:cxn ang="0">
                      <a:pos x="442" y="0"/>
                    </a:cxn>
                    <a:cxn ang="0">
                      <a:pos x="437" y="0"/>
                    </a:cxn>
                    <a:cxn ang="0">
                      <a:pos x="437" y="1"/>
                    </a:cxn>
                    <a:cxn ang="0">
                      <a:pos x="442" y="1"/>
                    </a:cxn>
                    <a:cxn ang="0">
                      <a:pos x="442" y="0"/>
                    </a:cxn>
                    <a:cxn ang="0">
                      <a:pos x="447" y="0"/>
                    </a:cxn>
                    <a:cxn ang="0">
                      <a:pos x="447" y="0"/>
                    </a:cxn>
                    <a:cxn ang="0">
                      <a:pos x="447" y="1"/>
                    </a:cxn>
                    <a:cxn ang="0">
                      <a:pos x="449" y="1"/>
                    </a:cxn>
                    <a:cxn ang="0">
                      <a:pos x="447" y="0"/>
                    </a:cxn>
                    <a:cxn ang="0">
                      <a:pos x="452" y="0"/>
                    </a:cxn>
                    <a:cxn ang="0">
                      <a:pos x="450" y="0"/>
                    </a:cxn>
                    <a:cxn ang="0">
                      <a:pos x="451" y="1"/>
                    </a:cxn>
                    <a:cxn ang="0">
                      <a:pos x="452" y="1"/>
                    </a:cxn>
                    <a:cxn ang="0">
                      <a:pos x="452" y="0"/>
                    </a:cxn>
                  </a:cxnLst>
                  <a:rect l="0" t="0" r="r" b="b"/>
                  <a:pathLst>
                    <a:path w="452" h="1">
                      <a:moveTo>
                        <a:pt x="5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1"/>
                        <a:pt x="114" y="1"/>
                        <a:pt x="114" y="1"/>
                      </a:cubicBezTo>
                      <a:cubicBezTo>
                        <a:pt x="119" y="1"/>
                        <a:pt x="119" y="1"/>
                        <a:pt x="119" y="1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1"/>
                        <a:pt x="166" y="1"/>
                        <a:pt x="166" y="1"/>
                      </a:cubicBezTo>
                      <a:cubicBezTo>
                        <a:pt x="167" y="1"/>
                        <a:pt x="167" y="1"/>
                        <a:pt x="167" y="1"/>
                      </a:cubicBezTo>
                      <a:cubicBezTo>
                        <a:pt x="167" y="1"/>
                        <a:pt x="167" y="1"/>
                        <a:pt x="167" y="0"/>
                      </a:cubicBezTo>
                      <a:moveTo>
                        <a:pt x="223" y="0"/>
                      </a:moveTo>
                      <a:cubicBezTo>
                        <a:pt x="218" y="0"/>
                        <a:pt x="218" y="0"/>
                        <a:pt x="218" y="0"/>
                      </a:cubicBezTo>
                      <a:cubicBezTo>
                        <a:pt x="218" y="1"/>
                        <a:pt x="218" y="1"/>
                        <a:pt x="218" y="1"/>
                      </a:cubicBezTo>
                      <a:cubicBezTo>
                        <a:pt x="223" y="1"/>
                        <a:pt x="223" y="1"/>
                        <a:pt x="223" y="1"/>
                      </a:cubicBezTo>
                      <a:cubicBezTo>
                        <a:pt x="223" y="0"/>
                        <a:pt x="223" y="0"/>
                        <a:pt x="223" y="0"/>
                      </a:cubicBezTo>
                      <a:moveTo>
                        <a:pt x="327" y="0"/>
                      </a:moveTo>
                      <a:cubicBezTo>
                        <a:pt x="326" y="0"/>
                        <a:pt x="326" y="0"/>
                        <a:pt x="326" y="0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1"/>
                        <a:pt x="327" y="1"/>
                        <a:pt x="327" y="1"/>
                      </a:cubicBezTo>
                      <a:cubicBezTo>
                        <a:pt x="327" y="0"/>
                        <a:pt x="327" y="0"/>
                        <a:pt x="327" y="0"/>
                      </a:cubicBezTo>
                      <a:moveTo>
                        <a:pt x="431" y="0"/>
                      </a:moveTo>
                      <a:cubicBezTo>
                        <a:pt x="426" y="0"/>
                        <a:pt x="426" y="0"/>
                        <a:pt x="426" y="0"/>
                      </a:cubicBezTo>
                      <a:cubicBezTo>
                        <a:pt x="426" y="1"/>
                        <a:pt x="426" y="1"/>
                        <a:pt x="426" y="1"/>
                      </a:cubicBezTo>
                      <a:cubicBezTo>
                        <a:pt x="431" y="1"/>
                        <a:pt x="431" y="1"/>
                        <a:pt x="431" y="1"/>
                      </a:cubicBezTo>
                      <a:cubicBezTo>
                        <a:pt x="431" y="0"/>
                        <a:pt x="431" y="0"/>
                        <a:pt x="431" y="0"/>
                      </a:cubicBezTo>
                      <a:moveTo>
                        <a:pt x="442" y="0"/>
                      </a:moveTo>
                      <a:cubicBezTo>
                        <a:pt x="437" y="0"/>
                        <a:pt x="437" y="0"/>
                        <a:pt x="437" y="0"/>
                      </a:cubicBezTo>
                      <a:cubicBezTo>
                        <a:pt x="437" y="1"/>
                        <a:pt x="437" y="1"/>
                        <a:pt x="437" y="1"/>
                      </a:cubicBezTo>
                      <a:cubicBezTo>
                        <a:pt x="442" y="1"/>
                        <a:pt x="442" y="1"/>
                        <a:pt x="442" y="1"/>
                      </a:cubicBezTo>
                      <a:cubicBezTo>
                        <a:pt x="442" y="0"/>
                        <a:pt x="442" y="0"/>
                        <a:pt x="442" y="0"/>
                      </a:cubicBezTo>
                      <a:moveTo>
                        <a:pt x="447" y="0"/>
                      </a:moveTo>
                      <a:cubicBezTo>
                        <a:pt x="447" y="0"/>
                        <a:pt x="447" y="0"/>
                        <a:pt x="447" y="0"/>
                      </a:cubicBezTo>
                      <a:cubicBezTo>
                        <a:pt x="447" y="1"/>
                        <a:pt x="447" y="1"/>
                        <a:pt x="447" y="1"/>
                      </a:cubicBezTo>
                      <a:cubicBezTo>
                        <a:pt x="449" y="1"/>
                        <a:pt x="449" y="1"/>
                        <a:pt x="449" y="1"/>
                      </a:cubicBezTo>
                      <a:cubicBezTo>
                        <a:pt x="449" y="1"/>
                        <a:pt x="448" y="1"/>
                        <a:pt x="447" y="0"/>
                      </a:cubicBezTo>
                      <a:moveTo>
                        <a:pt x="452" y="0"/>
                      </a:moveTo>
                      <a:cubicBezTo>
                        <a:pt x="450" y="0"/>
                        <a:pt x="450" y="0"/>
                        <a:pt x="450" y="0"/>
                      </a:cubicBezTo>
                      <a:cubicBezTo>
                        <a:pt x="450" y="1"/>
                        <a:pt x="451" y="1"/>
                        <a:pt x="451" y="1"/>
                      </a:cubicBezTo>
                      <a:cubicBezTo>
                        <a:pt x="452" y="1"/>
                        <a:pt x="452" y="1"/>
                        <a:pt x="452" y="1"/>
                      </a:cubicBezTo>
                      <a:cubicBezTo>
                        <a:pt x="452" y="0"/>
                        <a:pt x="452" y="0"/>
                        <a:pt x="45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1" name="Freeform 11"/>
                <p:cNvSpPr>
                  <a:spLocks noEditPoints="1"/>
                </p:cNvSpPr>
                <p:nvPr/>
              </p:nvSpPr>
              <p:spPr bwMode="auto">
                <a:xfrm>
                  <a:off x="-3518" y="1681"/>
                  <a:ext cx="530" cy="2"/>
                </a:xfrm>
                <a:custGeom>
                  <a:avLst/>
                  <a:gdLst/>
                  <a:ahLst/>
                  <a:cxnLst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5" y="1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88" y="0"/>
                    </a:cxn>
                    <a:cxn ang="0">
                      <a:pos x="88" y="0"/>
                    </a:cxn>
                    <a:cxn ang="0">
                      <a:pos x="88" y="1"/>
                    </a:cxn>
                    <a:cxn ang="0">
                      <a:pos x="88" y="1"/>
                    </a:cxn>
                    <a:cxn ang="0">
                      <a:pos x="88" y="0"/>
                    </a:cxn>
                    <a:cxn ang="0">
                      <a:pos x="224" y="0"/>
                    </a:cxn>
                    <a:cxn ang="0">
                      <a:pos x="223" y="0"/>
                    </a:cxn>
                    <a:cxn ang="0">
                      <a:pos x="224" y="1"/>
                    </a:cxn>
                    <a:cxn ang="0">
                      <a:pos x="224" y="0"/>
                    </a:cxn>
                  </a:cxnLst>
                  <a:rect l="0" t="0" r="r" b="b"/>
                  <a:pathLst>
                    <a:path w="224" h="1">
                      <a:moveTo>
                        <a:pt x="5" y="1"/>
                      </a:move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1"/>
                        <a:pt x="3" y="0"/>
                      </a:cubicBezTo>
                      <a:moveTo>
                        <a:pt x="88" y="0"/>
                      </a:move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1"/>
                        <a:pt x="88" y="1"/>
                        <a:pt x="88" y="1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224" y="0"/>
                      </a:moveTo>
                      <a:cubicBezTo>
                        <a:pt x="223" y="0"/>
                        <a:pt x="223" y="0"/>
                        <a:pt x="223" y="0"/>
                      </a:cubicBezTo>
                      <a:cubicBezTo>
                        <a:pt x="223" y="1"/>
                        <a:pt x="224" y="1"/>
                        <a:pt x="224" y="1"/>
                      </a:cubicBezTo>
                      <a:cubicBezTo>
                        <a:pt x="224" y="0"/>
                        <a:pt x="224" y="0"/>
                        <a:pt x="224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2" name="Freeform 12"/>
                <p:cNvSpPr>
                  <a:spLocks/>
                </p:cNvSpPr>
                <p:nvPr/>
              </p:nvSpPr>
              <p:spPr bwMode="auto">
                <a:xfrm>
                  <a:off x="-1232" y="1986"/>
                  <a:ext cx="13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8" y="100"/>
                    </a:cxn>
                    <a:cxn ang="0">
                      <a:pos x="49" y="103"/>
                    </a:cxn>
                    <a:cxn ang="0">
                      <a:pos x="54" y="114"/>
                    </a:cxn>
                    <a:cxn ang="0">
                      <a:pos x="56" y="114"/>
                    </a:cxn>
                    <a:cxn ang="0">
                      <a:pos x="51" y="101"/>
                    </a:cxn>
                    <a:cxn ang="0">
                      <a:pos x="49" y="101"/>
                    </a:cxn>
                    <a:cxn ang="0">
                      <a:pos x="49" y="100"/>
                    </a:cxn>
                    <a:cxn ang="0">
                      <a:pos x="50" y="100"/>
                    </a:cxn>
                    <a:cxn ang="0">
                      <a:pos x="50" y="99"/>
                    </a:cxn>
                    <a:cxn ang="0">
                      <a:pos x="50" y="99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6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8" y="29"/>
                        <a:pt x="35" y="62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0"/>
                        <a:pt x="48" y="100"/>
                      </a:cubicBezTo>
                      <a:cubicBezTo>
                        <a:pt x="48" y="100"/>
                        <a:pt x="48" y="101"/>
                        <a:pt x="49" y="103"/>
                      </a:cubicBezTo>
                      <a:cubicBezTo>
                        <a:pt x="50" y="105"/>
                        <a:pt x="52" y="109"/>
                        <a:pt x="54" y="114"/>
                      </a:cubicBezTo>
                      <a:cubicBezTo>
                        <a:pt x="56" y="114"/>
                        <a:pt x="56" y="114"/>
                        <a:pt x="56" y="114"/>
                      </a:cubicBezTo>
                      <a:cubicBezTo>
                        <a:pt x="54" y="107"/>
                        <a:pt x="52" y="103"/>
                        <a:pt x="51" y="101"/>
                      </a:cubicBezTo>
                      <a:cubicBezTo>
                        <a:pt x="49" y="101"/>
                        <a:pt x="49" y="101"/>
                        <a:pt x="49" y="101"/>
                      </a:cubicBezTo>
                      <a:cubicBezTo>
                        <a:pt x="49" y="100"/>
                        <a:pt x="49" y="100"/>
                        <a:pt x="49" y="100"/>
                      </a:cubicBezTo>
                      <a:cubicBezTo>
                        <a:pt x="50" y="100"/>
                        <a:pt x="50" y="100"/>
                        <a:pt x="50" y="100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50" y="99"/>
                        <a:pt x="50" y="99"/>
                        <a:pt x="50" y="99"/>
                      </a:cubicBezTo>
                      <a:cubicBezTo>
                        <a:pt x="37" y="62"/>
                        <a:pt x="20" y="29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3" name="Freeform 13"/>
                <p:cNvSpPr>
                  <a:spLocks/>
                </p:cNvSpPr>
                <p:nvPr/>
              </p:nvSpPr>
              <p:spPr bwMode="auto">
                <a:xfrm>
                  <a:off x="-1116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4" name="Freeform 14"/>
                <p:cNvSpPr>
                  <a:spLocks noEditPoints="1"/>
                </p:cNvSpPr>
                <p:nvPr/>
              </p:nvSpPr>
              <p:spPr bwMode="auto">
                <a:xfrm>
                  <a:off x="-1104" y="2259"/>
                  <a:ext cx="171" cy="1017"/>
                </a:xfrm>
                <a:custGeom>
                  <a:avLst/>
                  <a:gdLst/>
                  <a:ahLst/>
                  <a:cxnLst>
                    <a:cxn ang="0">
                      <a:pos x="55" y="343"/>
                    </a:cxn>
                    <a:cxn ang="0">
                      <a:pos x="53" y="343"/>
                    </a:cxn>
                    <a:cxn ang="0">
                      <a:pos x="53" y="343"/>
                    </a:cxn>
                    <a:cxn ang="0">
                      <a:pos x="62" y="394"/>
                    </a:cxn>
                    <a:cxn ang="0">
                      <a:pos x="70" y="429"/>
                    </a:cxn>
                    <a:cxn ang="0">
                      <a:pos x="72" y="429"/>
                    </a:cxn>
                    <a:cxn ang="0">
                      <a:pos x="60" y="374"/>
                    </a:cxn>
                    <a:cxn ang="0">
                      <a:pos x="57" y="352"/>
                    </a:cxn>
                    <a:cxn ang="0">
                      <a:pos x="55" y="343"/>
                    </a:cxn>
                    <a:cxn ang="0">
                      <a:pos x="34" y="255"/>
                    </a:cxn>
                    <a:cxn ang="0">
                      <a:pos x="32" y="255"/>
                    </a:cxn>
                    <a:cxn ang="0">
                      <a:pos x="39" y="292"/>
                    </a:cxn>
                    <a:cxn ang="0">
                      <a:pos x="46" y="324"/>
                    </a:cxn>
                    <a:cxn ang="0">
                      <a:pos x="50" y="336"/>
                    </a:cxn>
                    <a:cxn ang="0">
                      <a:pos x="52" y="342"/>
                    </a:cxn>
                    <a:cxn ang="0">
                      <a:pos x="55" y="342"/>
                    </a:cxn>
                    <a:cxn ang="0">
                      <a:pos x="52" y="336"/>
                    </a:cxn>
                    <a:cxn ang="0">
                      <a:pos x="40" y="284"/>
                    </a:cxn>
                    <a:cxn ang="0">
                      <a:pos x="35" y="259"/>
                    </a:cxn>
                    <a:cxn ang="0">
                      <a:pos x="34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1" y="249"/>
                    </a:cxn>
                    <a:cxn ang="0">
                      <a:pos x="31" y="249"/>
                    </a:cxn>
                    <a:cxn ang="0">
                      <a:pos x="32" y="254"/>
                    </a:cxn>
                    <a:cxn ang="0">
                      <a:pos x="32" y="254"/>
                    </a:cxn>
                    <a:cxn ang="0">
                      <a:pos x="34" y="254"/>
                    </a:cxn>
                    <a:cxn ang="0">
                      <a:pos x="33" y="249"/>
                    </a:cxn>
                    <a:cxn ang="0">
                      <a:pos x="33" y="249"/>
                    </a:cxn>
                    <a:cxn ang="0">
                      <a:pos x="32" y="233"/>
                    </a:cxn>
                    <a:cxn ang="0">
                      <a:pos x="25" y="102"/>
                    </a:cxn>
                    <a:cxn ang="0">
                      <a:pos x="23" y="102"/>
                    </a:cxn>
                    <a:cxn ang="0">
                      <a:pos x="22" y="112"/>
                    </a:cxn>
                    <a:cxn ang="0">
                      <a:pos x="22" y="112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24" y="113"/>
                    </a:cxn>
                    <a:cxn ang="0">
                      <a:pos x="25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3" y="95"/>
                    </a:cxn>
                    <a:cxn ang="0">
                      <a:pos x="23" y="101"/>
                    </a:cxn>
                    <a:cxn ang="0">
                      <a:pos x="25" y="101"/>
                    </a:cxn>
                    <a:cxn ang="0">
                      <a:pos x="25" y="95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72" h="429">
                      <a:moveTo>
                        <a:pt x="55" y="343"/>
                      </a:move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3" y="343"/>
                        <a:pt x="53" y="343"/>
                        <a:pt x="53" y="343"/>
                      </a:cubicBezTo>
                      <a:cubicBezTo>
                        <a:pt x="54" y="346"/>
                        <a:pt x="57" y="369"/>
                        <a:pt x="62" y="394"/>
                      </a:cubicBezTo>
                      <a:cubicBezTo>
                        <a:pt x="64" y="406"/>
                        <a:pt x="67" y="418"/>
                        <a:pt x="70" y="429"/>
                      </a:cubicBezTo>
                      <a:cubicBezTo>
                        <a:pt x="72" y="429"/>
                        <a:pt x="72" y="429"/>
                        <a:pt x="72" y="429"/>
                      </a:cubicBezTo>
                      <a:cubicBezTo>
                        <a:pt x="67" y="411"/>
                        <a:pt x="63" y="391"/>
                        <a:pt x="60" y="374"/>
                      </a:cubicBezTo>
                      <a:cubicBezTo>
                        <a:pt x="59" y="365"/>
                        <a:pt x="57" y="357"/>
                        <a:pt x="57" y="352"/>
                      </a:cubicBezTo>
                      <a:cubicBezTo>
                        <a:pt x="56" y="347"/>
                        <a:pt x="55" y="344"/>
                        <a:pt x="55" y="343"/>
                      </a:cubicBezTo>
                      <a:moveTo>
                        <a:pt x="34" y="255"/>
                      </a:moveTo>
                      <a:cubicBezTo>
                        <a:pt x="32" y="255"/>
                        <a:pt x="32" y="255"/>
                        <a:pt x="32" y="255"/>
                      </a:cubicBezTo>
                      <a:cubicBezTo>
                        <a:pt x="34" y="263"/>
                        <a:pt x="36" y="277"/>
                        <a:pt x="39" y="292"/>
                      </a:cubicBezTo>
                      <a:cubicBezTo>
                        <a:pt x="42" y="303"/>
                        <a:pt x="44" y="315"/>
                        <a:pt x="46" y="324"/>
                      </a:cubicBezTo>
                      <a:cubicBezTo>
                        <a:pt x="48" y="329"/>
                        <a:pt x="49" y="333"/>
                        <a:pt x="50" y="336"/>
                      </a:cubicBezTo>
                      <a:cubicBezTo>
                        <a:pt x="51" y="339"/>
                        <a:pt x="52" y="340"/>
                        <a:pt x="52" y="342"/>
                      </a:cubicBezTo>
                      <a:cubicBezTo>
                        <a:pt x="55" y="342"/>
                        <a:pt x="55" y="342"/>
                        <a:pt x="55" y="342"/>
                      </a:cubicBezTo>
                      <a:cubicBezTo>
                        <a:pt x="54" y="341"/>
                        <a:pt x="53" y="338"/>
                        <a:pt x="52" y="336"/>
                      </a:cubicBezTo>
                      <a:cubicBezTo>
                        <a:pt x="48" y="324"/>
                        <a:pt x="43" y="303"/>
                        <a:pt x="40" y="284"/>
                      </a:cubicBezTo>
                      <a:cubicBezTo>
                        <a:pt x="38" y="274"/>
                        <a:pt x="36" y="266"/>
                        <a:pt x="35" y="259"/>
                      </a:cubicBezTo>
                      <a:cubicBezTo>
                        <a:pt x="35" y="258"/>
                        <a:pt x="35" y="256"/>
                        <a:pt x="34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1" y="249"/>
                        <a:pt x="31" y="249"/>
                      </a:cubicBezTo>
                      <a:cubicBezTo>
                        <a:pt x="31" y="249"/>
                        <a:pt x="32" y="251"/>
                        <a:pt x="32" y="254"/>
                      </a:cubicBezTo>
                      <a:cubicBezTo>
                        <a:pt x="32" y="254"/>
                        <a:pt x="32" y="254"/>
                        <a:pt x="32" y="254"/>
                      </a:cubicBezTo>
                      <a:cubicBezTo>
                        <a:pt x="34" y="254"/>
                        <a:pt x="34" y="254"/>
                        <a:pt x="34" y="254"/>
                      </a:cubicBezTo>
                      <a:cubicBezTo>
                        <a:pt x="34" y="251"/>
                        <a:pt x="33" y="249"/>
                        <a:pt x="33" y="249"/>
                      </a:cubicBezTo>
                      <a:cubicBezTo>
                        <a:pt x="33" y="249"/>
                        <a:pt x="33" y="249"/>
                        <a:pt x="33" y="249"/>
                      </a:cubicBezTo>
                      <a:cubicBezTo>
                        <a:pt x="32" y="233"/>
                        <a:pt x="32" y="233"/>
                        <a:pt x="32" y="233"/>
                      </a:cubicBezTo>
                      <a:moveTo>
                        <a:pt x="25" y="102"/>
                      </a:moveTo>
                      <a:cubicBezTo>
                        <a:pt x="23" y="102"/>
                        <a:pt x="23" y="102"/>
                        <a:pt x="23" y="102"/>
                      </a:cubicBezTo>
                      <a:cubicBezTo>
                        <a:pt x="23" y="105"/>
                        <a:pt x="22" y="109"/>
                        <a:pt x="22" y="112"/>
                      </a:cubicBezTo>
                      <a:cubicBezTo>
                        <a:pt x="22" y="112"/>
                        <a:pt x="22" y="112"/>
                        <a:pt x="22" y="112"/>
                      </a:cubicBezTo>
                      <a:cubicBezTo>
                        <a:pt x="30" y="232"/>
                        <a:pt x="30" y="232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113"/>
                        <a:pt x="24" y="113"/>
                        <a:pt x="24" y="113"/>
                      </a:cubicBezTo>
                      <a:cubicBezTo>
                        <a:pt x="24" y="109"/>
                        <a:pt x="25" y="106"/>
                        <a:pt x="25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9" y="20"/>
                        <a:pt x="23" y="60"/>
                        <a:pt x="23" y="95"/>
                      </a:cubicBezTo>
                      <a:cubicBezTo>
                        <a:pt x="23" y="97"/>
                        <a:pt x="23" y="99"/>
                        <a:pt x="23" y="101"/>
                      </a:cubicBezTo>
                      <a:cubicBezTo>
                        <a:pt x="25" y="101"/>
                        <a:pt x="25" y="101"/>
                        <a:pt x="25" y="101"/>
                      </a:cubicBezTo>
                      <a:cubicBezTo>
                        <a:pt x="25" y="99"/>
                        <a:pt x="25" y="97"/>
                        <a:pt x="25" y="95"/>
                      </a:cubicBezTo>
                      <a:cubicBezTo>
                        <a:pt x="25" y="60"/>
                        <a:pt x="11" y="2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5" name="Freeform 15"/>
                <p:cNvSpPr>
                  <a:spLocks/>
                </p:cNvSpPr>
                <p:nvPr/>
              </p:nvSpPr>
              <p:spPr bwMode="auto">
                <a:xfrm>
                  <a:off x="-981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6" name="Freeform 16"/>
                <p:cNvSpPr>
                  <a:spLocks/>
                </p:cNvSpPr>
                <p:nvPr/>
              </p:nvSpPr>
              <p:spPr bwMode="auto">
                <a:xfrm>
                  <a:off x="-102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7" name="Freeform 17"/>
                <p:cNvSpPr>
                  <a:spLocks noEditPoints="1"/>
                </p:cNvSpPr>
                <p:nvPr/>
              </p:nvSpPr>
              <p:spPr bwMode="auto">
                <a:xfrm>
                  <a:off x="-1750" y="1524"/>
                  <a:ext cx="843" cy="1830"/>
                </a:xfrm>
                <a:custGeom>
                  <a:avLst/>
                  <a:gdLst/>
                  <a:ahLst/>
                  <a:cxnLst>
                    <a:cxn ang="0">
                      <a:pos x="345" y="740"/>
                    </a:cxn>
                    <a:cxn ang="0">
                      <a:pos x="343" y="740"/>
                    </a:cxn>
                    <a:cxn ang="0">
                      <a:pos x="344" y="744"/>
                    </a:cxn>
                    <a:cxn ang="0">
                      <a:pos x="354" y="772"/>
                    </a:cxn>
                    <a:cxn ang="0">
                      <a:pos x="355" y="772"/>
                    </a:cxn>
                    <a:cxn ang="0">
                      <a:pos x="356" y="772"/>
                    </a:cxn>
                    <a:cxn ang="0">
                      <a:pos x="356" y="771"/>
                    </a:cxn>
                    <a:cxn ang="0">
                      <a:pos x="346" y="744"/>
                    </a:cxn>
                    <a:cxn ang="0">
                      <a:pos x="345" y="740"/>
                    </a:cxn>
                    <a:cxn ang="0">
                      <a:pos x="145" y="98"/>
                    </a:cxn>
                    <a:cxn ang="0">
                      <a:pos x="142" y="98"/>
                    </a:cxn>
                    <a:cxn ang="0">
                      <a:pos x="219" y="194"/>
                    </a:cxn>
                    <a:cxn ang="0">
                      <a:pos x="221" y="194"/>
                    </a:cxn>
                    <a:cxn ang="0">
                      <a:pos x="145" y="98"/>
                    </a:cxn>
                    <a:cxn ang="0">
                      <a:pos x="110" y="67"/>
                    </a:cxn>
                    <a:cxn ang="0">
                      <a:pos x="107" y="67"/>
                    </a:cxn>
                    <a:cxn ang="0">
                      <a:pos x="141" y="97"/>
                    </a:cxn>
                    <a:cxn ang="0">
                      <a:pos x="144" y="97"/>
                    </a:cxn>
                    <a:cxn ang="0">
                      <a:pos x="110" y="67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2"/>
                    </a:cxn>
                    <a:cxn ang="0">
                      <a:pos x="106" y="66"/>
                    </a:cxn>
                    <a:cxn ang="0">
                      <a:pos x="109" y="66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6" h="772">
                      <a:moveTo>
                        <a:pt x="345" y="740"/>
                      </a:moveTo>
                      <a:cubicBezTo>
                        <a:pt x="343" y="740"/>
                        <a:pt x="343" y="740"/>
                        <a:pt x="343" y="740"/>
                      </a:cubicBezTo>
                      <a:cubicBezTo>
                        <a:pt x="343" y="741"/>
                        <a:pt x="344" y="743"/>
                        <a:pt x="344" y="744"/>
                      </a:cubicBezTo>
                      <a:cubicBezTo>
                        <a:pt x="347" y="756"/>
                        <a:pt x="351" y="766"/>
                        <a:pt x="354" y="772"/>
                      </a:cubicBezTo>
                      <a:cubicBezTo>
                        <a:pt x="355" y="772"/>
                        <a:pt x="355" y="772"/>
                        <a:pt x="355" y="772"/>
                      </a:cubicBezTo>
                      <a:cubicBezTo>
                        <a:pt x="356" y="772"/>
                        <a:pt x="356" y="772"/>
                        <a:pt x="356" y="772"/>
                      </a:cubicBezTo>
                      <a:cubicBezTo>
                        <a:pt x="356" y="771"/>
                        <a:pt x="356" y="771"/>
                        <a:pt x="356" y="771"/>
                      </a:cubicBezTo>
                      <a:cubicBezTo>
                        <a:pt x="352" y="765"/>
                        <a:pt x="349" y="755"/>
                        <a:pt x="346" y="744"/>
                      </a:cubicBezTo>
                      <a:cubicBezTo>
                        <a:pt x="346" y="742"/>
                        <a:pt x="345" y="741"/>
                        <a:pt x="345" y="740"/>
                      </a:cubicBezTo>
                      <a:moveTo>
                        <a:pt x="145" y="98"/>
                      </a:moveTo>
                      <a:cubicBezTo>
                        <a:pt x="142" y="98"/>
                        <a:pt x="142" y="98"/>
                        <a:pt x="142" y="98"/>
                      </a:cubicBezTo>
                      <a:cubicBezTo>
                        <a:pt x="168" y="124"/>
                        <a:pt x="195" y="155"/>
                        <a:pt x="219" y="194"/>
                      </a:cubicBezTo>
                      <a:cubicBezTo>
                        <a:pt x="221" y="194"/>
                        <a:pt x="221" y="194"/>
                        <a:pt x="221" y="194"/>
                      </a:cubicBezTo>
                      <a:cubicBezTo>
                        <a:pt x="197" y="155"/>
                        <a:pt x="171" y="124"/>
                        <a:pt x="145" y="98"/>
                      </a:cubicBezTo>
                      <a:moveTo>
                        <a:pt x="110" y="67"/>
                      </a:moveTo>
                      <a:cubicBezTo>
                        <a:pt x="107" y="67"/>
                        <a:pt x="107" y="67"/>
                        <a:pt x="107" y="67"/>
                      </a:cubicBezTo>
                      <a:cubicBezTo>
                        <a:pt x="118" y="76"/>
                        <a:pt x="129" y="86"/>
                        <a:pt x="141" y="97"/>
                      </a:cubicBezTo>
                      <a:cubicBezTo>
                        <a:pt x="144" y="97"/>
                        <a:pt x="144" y="97"/>
                        <a:pt x="144" y="97"/>
                      </a:cubicBezTo>
                      <a:cubicBezTo>
                        <a:pt x="132" y="86"/>
                        <a:pt x="121" y="76"/>
                        <a:pt x="110" y="67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2"/>
                        <a:pt x="1" y="2"/>
                        <a:pt x="2" y="2"/>
                      </a:cubicBezTo>
                      <a:cubicBezTo>
                        <a:pt x="12" y="6"/>
                        <a:pt x="55" y="25"/>
                        <a:pt x="106" y="66"/>
                      </a:cubicBezTo>
                      <a:cubicBezTo>
                        <a:pt x="109" y="66"/>
                        <a:pt x="109" y="66"/>
                        <a:pt x="109" y="66"/>
                      </a:cubicBezTo>
                      <a:cubicBezTo>
                        <a:pt x="56" y="23"/>
                        <a:pt x="10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8" name="Freeform 18"/>
                <p:cNvSpPr>
                  <a:spLocks/>
                </p:cNvSpPr>
                <p:nvPr/>
              </p:nvSpPr>
              <p:spPr bwMode="auto">
                <a:xfrm>
                  <a:off x="-1416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49" name="Freeform 19"/>
                <p:cNvSpPr>
                  <a:spLocks/>
                </p:cNvSpPr>
                <p:nvPr/>
              </p:nvSpPr>
              <p:spPr bwMode="auto">
                <a:xfrm>
                  <a:off x="-1499" y="1681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4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0" name="Freeform 20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178" y="2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0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lnTo>
                        <a:pt x="178" y="2"/>
                      </a:lnTo>
                      <a:close/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0"/>
                      </a:lnTo>
                      <a:close/>
                      <a:moveTo>
                        <a:pt x="178" y="0"/>
                      </a:moveTo>
                      <a:lnTo>
                        <a:pt x="178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1" name="Freeform 21"/>
                <p:cNvSpPr>
                  <a:spLocks noEditPoints="1"/>
                </p:cNvSpPr>
                <p:nvPr/>
              </p:nvSpPr>
              <p:spPr bwMode="auto">
                <a:xfrm>
                  <a:off x="-2619" y="2809"/>
                  <a:ext cx="178" cy="2"/>
                </a:xfrm>
                <a:custGeom>
                  <a:avLst/>
                  <a:gdLst/>
                  <a:ahLst/>
                  <a:cxnLst>
                    <a:cxn ang="0">
                      <a:pos x="178" y="2"/>
                    </a:cxn>
                    <a:cxn ang="0">
                      <a:pos x="178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0" y="2"/>
                    </a:cxn>
                    <a:cxn ang="0">
                      <a:pos x="178" y="0"/>
                    </a:cxn>
                    <a:cxn ang="0">
                      <a:pos x="178" y="0"/>
                    </a:cxn>
                  </a:cxnLst>
                  <a:rect l="0" t="0" r="r" b="b"/>
                  <a:pathLst>
                    <a:path w="178" h="2">
                      <a:moveTo>
                        <a:pt x="178" y="2"/>
                      </a:moveTo>
                      <a:lnTo>
                        <a:pt x="178" y="0"/>
                      </a:lnTo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0" y="2"/>
                      </a:lnTo>
                      <a:lnTo>
                        <a:pt x="0" y="2"/>
                      </a:lnTo>
                      <a:moveTo>
                        <a:pt x="178" y="0"/>
                      </a:moveTo>
                      <a:lnTo>
                        <a:pt x="178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2" name="Freeform 22"/>
                <p:cNvSpPr>
                  <a:spLocks/>
                </p:cNvSpPr>
                <p:nvPr/>
              </p:nvSpPr>
              <p:spPr bwMode="auto">
                <a:xfrm>
                  <a:off x="-103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5" y="2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3" name="Freeform 23"/>
                <p:cNvSpPr>
                  <a:spLocks/>
                </p:cNvSpPr>
                <p:nvPr/>
              </p:nvSpPr>
              <p:spPr bwMode="auto">
                <a:xfrm>
                  <a:off x="-938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4" name="Freeform 24"/>
                <p:cNvSpPr>
                  <a:spLocks noEditPoints="1"/>
                </p:cNvSpPr>
                <p:nvPr/>
              </p:nvSpPr>
              <p:spPr bwMode="auto">
                <a:xfrm>
                  <a:off x="-3887" y="3351"/>
                  <a:ext cx="395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4" y="0"/>
                    </a:cxn>
                    <a:cxn ang="0">
                      <a:pos x="15" y="0"/>
                    </a:cxn>
                    <a:cxn ang="0">
                      <a:pos x="10" y="0"/>
                    </a:cxn>
                    <a:cxn ang="0">
                      <a:pos x="15" y="0"/>
                    </a:cxn>
                    <a:cxn ang="0">
                      <a:pos x="20" y="0"/>
                    </a:cxn>
                    <a:cxn ang="0">
                      <a:pos x="25" y="0"/>
                    </a:cxn>
                    <a:cxn ang="0">
                      <a:pos x="36" y="0"/>
                    </a:cxn>
                    <a:cxn ang="0">
                      <a:pos x="30" y="0"/>
                    </a:cxn>
                    <a:cxn ang="0">
                      <a:pos x="36" y="0"/>
                    </a:cxn>
                    <a:cxn ang="0">
                      <a:pos x="43" y="0"/>
                    </a:cxn>
                    <a:cxn ang="0">
                      <a:pos x="46" y="0"/>
                    </a:cxn>
                    <a:cxn ang="0">
                      <a:pos x="56" y="0"/>
                    </a:cxn>
                    <a:cxn ang="0">
                      <a:pos x="51" y="0"/>
                    </a:cxn>
                    <a:cxn ang="0">
                      <a:pos x="56" y="0"/>
                    </a:cxn>
                    <a:cxn ang="0">
                      <a:pos x="62" y="0"/>
                    </a:cxn>
                    <a:cxn ang="0">
                      <a:pos x="67" y="0"/>
                    </a:cxn>
                    <a:cxn ang="0">
                      <a:pos x="77" y="0"/>
                    </a:cxn>
                    <a:cxn ang="0">
                      <a:pos x="72" y="0"/>
                    </a:cxn>
                    <a:cxn ang="0">
                      <a:pos x="77" y="0"/>
                    </a:cxn>
                    <a:cxn ang="0">
                      <a:pos x="82" y="0"/>
                    </a:cxn>
                    <a:cxn ang="0">
                      <a:pos x="84" y="0"/>
                    </a:cxn>
                    <a:cxn ang="0">
                      <a:pos x="88" y="0"/>
                    </a:cxn>
                    <a:cxn ang="0">
                      <a:pos x="86" y="0"/>
                    </a:cxn>
                    <a:cxn ang="0">
                      <a:pos x="88" y="0"/>
                    </a:cxn>
                    <a:cxn ang="0">
                      <a:pos x="93" y="0"/>
                    </a:cxn>
                    <a:cxn ang="0">
                      <a:pos x="98" y="0"/>
                    </a:cxn>
                    <a:cxn ang="0">
                      <a:pos x="108" y="0"/>
                    </a:cxn>
                    <a:cxn ang="0">
                      <a:pos x="103" y="0"/>
                    </a:cxn>
                    <a:cxn ang="0">
                      <a:pos x="108" y="0"/>
                    </a:cxn>
                    <a:cxn ang="0">
                      <a:pos x="114" y="0"/>
                    </a:cxn>
                    <a:cxn ang="0">
                      <a:pos x="119" y="0"/>
                    </a:cxn>
                    <a:cxn ang="0">
                      <a:pos x="126" y="0"/>
                    </a:cxn>
                    <a:cxn ang="0">
                      <a:pos x="124" y="0"/>
                    </a:cxn>
                    <a:cxn ang="0">
                      <a:pos x="126" y="0"/>
                    </a:cxn>
                    <a:cxn ang="0">
                      <a:pos x="128" y="0"/>
                    </a:cxn>
                    <a:cxn ang="0">
                      <a:pos x="129" y="0"/>
                    </a:cxn>
                    <a:cxn ang="0">
                      <a:pos x="140" y="0"/>
                    </a:cxn>
                    <a:cxn ang="0">
                      <a:pos x="134" y="0"/>
                    </a:cxn>
                    <a:cxn ang="0">
                      <a:pos x="140" y="0"/>
                    </a:cxn>
                    <a:cxn ang="0">
                      <a:pos x="145" y="0"/>
                    </a:cxn>
                    <a:cxn ang="0">
                      <a:pos x="150" y="0"/>
                    </a:cxn>
                    <a:cxn ang="0">
                      <a:pos x="160" y="0"/>
                    </a:cxn>
                    <a:cxn ang="0">
                      <a:pos x="155" y="0"/>
                    </a:cxn>
                    <a:cxn ang="0">
                      <a:pos x="160" y="0"/>
                    </a:cxn>
                    <a:cxn ang="0">
                      <a:pos x="166" y="0"/>
                    </a:cxn>
                    <a:cxn ang="0">
                      <a:pos x="167" y="0"/>
                    </a:cxn>
                  </a:cxnLst>
                  <a:rect l="0" t="0" r="r" b="b"/>
                  <a:pathLst>
                    <a:path w="167">
                      <a:moveTo>
                        <a:pt x="4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4" y="0"/>
                        <a:pt x="4" y="0"/>
                        <a:pt x="4" y="0"/>
                      </a:cubicBezTo>
                      <a:moveTo>
                        <a:pt x="15" y="0"/>
                      </a:move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0" y="0"/>
                        <a:pt x="10" y="0"/>
                        <a:pt x="10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5" y="0"/>
                        <a:pt x="15" y="0"/>
                        <a:pt x="15" y="0"/>
                      </a:cubicBezTo>
                      <a:moveTo>
                        <a:pt x="25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moveTo>
                        <a:pt x="36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moveTo>
                        <a:pt x="46" y="0"/>
                      </a:move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3" y="0"/>
                        <a:pt x="43" y="0"/>
                        <a:pt x="43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cubicBezTo>
                        <a:pt x="46" y="0"/>
                        <a:pt x="46" y="0"/>
                        <a:pt x="46" y="0"/>
                      </a:cubicBezTo>
                      <a:moveTo>
                        <a:pt x="56" y="0"/>
                      </a:move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1" y="0"/>
                        <a:pt x="51" y="0"/>
                        <a:pt x="51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cubicBezTo>
                        <a:pt x="56" y="0"/>
                        <a:pt x="56" y="0"/>
                        <a:pt x="56" y="0"/>
                      </a:cubicBezTo>
                      <a:moveTo>
                        <a:pt x="67" y="0"/>
                      </a:move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2" y="0"/>
                        <a:pt x="62" y="0"/>
                        <a:pt x="62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cubicBezTo>
                        <a:pt x="67" y="0"/>
                        <a:pt x="67" y="0"/>
                        <a:pt x="67" y="0"/>
                      </a:cubicBezTo>
                      <a:moveTo>
                        <a:pt x="77" y="0"/>
                      </a:move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2" y="0"/>
                        <a:pt x="72" y="0"/>
                        <a:pt x="72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cubicBezTo>
                        <a:pt x="77" y="0"/>
                        <a:pt x="77" y="0"/>
                        <a:pt x="77" y="0"/>
                      </a:cubicBezTo>
                      <a:moveTo>
                        <a:pt x="84" y="0"/>
                      </a:move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2" y="0"/>
                        <a:pt x="82" y="0"/>
                        <a:pt x="82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cubicBezTo>
                        <a:pt x="84" y="0"/>
                        <a:pt x="84" y="0"/>
                        <a:pt x="84" y="0"/>
                      </a:cubicBezTo>
                      <a:moveTo>
                        <a:pt x="88" y="0"/>
                      </a:move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6" y="0"/>
                        <a:pt x="86" y="0"/>
                        <a:pt x="86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cubicBezTo>
                        <a:pt x="88" y="0"/>
                        <a:pt x="88" y="0"/>
                        <a:pt x="88" y="0"/>
                      </a:cubicBezTo>
                      <a:moveTo>
                        <a:pt x="98" y="0"/>
                      </a:move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3" y="0"/>
                        <a:pt x="93" y="0"/>
                        <a:pt x="93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cubicBezTo>
                        <a:pt x="98" y="0"/>
                        <a:pt x="98" y="0"/>
                        <a:pt x="98" y="0"/>
                      </a:cubicBezTo>
                      <a:moveTo>
                        <a:pt x="108" y="0"/>
                      </a:move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3" y="0"/>
                        <a:pt x="103" y="0"/>
                        <a:pt x="103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cubicBezTo>
                        <a:pt x="108" y="0"/>
                        <a:pt x="108" y="0"/>
                        <a:pt x="108" y="0"/>
                      </a:cubicBezTo>
                      <a:moveTo>
                        <a:pt x="119" y="0"/>
                      </a:move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4" y="0"/>
                        <a:pt x="114" y="0"/>
                        <a:pt x="114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cubicBezTo>
                        <a:pt x="119" y="0"/>
                        <a:pt x="119" y="0"/>
                        <a:pt x="119" y="0"/>
                      </a:cubicBezTo>
                      <a:moveTo>
                        <a:pt x="126" y="0"/>
                      </a:move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4" y="0"/>
                        <a:pt x="124" y="0"/>
                        <a:pt x="124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cubicBezTo>
                        <a:pt x="126" y="0"/>
                        <a:pt x="126" y="0"/>
                        <a:pt x="126" y="0"/>
                      </a:cubicBezTo>
                      <a:moveTo>
                        <a:pt x="129" y="0"/>
                      </a:move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8" y="0"/>
                        <a:pt x="128" y="0"/>
                        <a:pt x="128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cubicBezTo>
                        <a:pt x="129" y="0"/>
                        <a:pt x="129" y="0"/>
                        <a:pt x="129" y="0"/>
                      </a:cubicBezTo>
                      <a:moveTo>
                        <a:pt x="140" y="0"/>
                      </a:move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34" y="0"/>
                        <a:pt x="134" y="0"/>
                        <a:pt x="134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cubicBezTo>
                        <a:pt x="140" y="0"/>
                        <a:pt x="140" y="0"/>
                        <a:pt x="140" y="0"/>
                      </a:cubicBezTo>
                      <a:moveTo>
                        <a:pt x="150" y="0"/>
                      </a:move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45" y="0"/>
                        <a:pt x="145" y="0"/>
                        <a:pt x="145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cubicBezTo>
                        <a:pt x="150" y="0"/>
                        <a:pt x="150" y="0"/>
                        <a:pt x="150" y="0"/>
                      </a:cubicBezTo>
                      <a:moveTo>
                        <a:pt x="160" y="0"/>
                      </a:move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55" y="0"/>
                        <a:pt x="155" y="0"/>
                        <a:pt x="155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cubicBezTo>
                        <a:pt x="160" y="0"/>
                        <a:pt x="160" y="0"/>
                        <a:pt x="160" y="0"/>
                      </a:cubicBezTo>
                      <a:moveTo>
                        <a:pt x="167" y="0"/>
                      </a:move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6" y="0"/>
                        <a:pt x="166" y="0"/>
                        <a:pt x="166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  <a:cubicBezTo>
                        <a:pt x="167" y="0"/>
                        <a:pt x="167" y="0"/>
                        <a:pt x="167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5" name="Freeform 25"/>
                <p:cNvSpPr>
                  <a:spLocks noEditPoints="1"/>
                </p:cNvSpPr>
                <p:nvPr/>
              </p:nvSpPr>
              <p:spPr bwMode="auto">
                <a:xfrm>
                  <a:off x="-2903" y="3354"/>
                  <a:ext cx="287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121" y="0"/>
                    </a:cxn>
                    <a:cxn ang="0">
                      <a:pos x="120" y="0"/>
                    </a:cxn>
                    <a:cxn ang="0">
                      <a:pos x="120" y="1"/>
                    </a:cxn>
                    <a:cxn ang="0">
                      <a:pos x="120" y="1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121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121" y="0"/>
                      </a:moveTo>
                      <a:cubicBezTo>
                        <a:pt x="120" y="0"/>
                        <a:pt x="120" y="0"/>
                        <a:pt x="120" y="0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0" y="1"/>
                      </a:cubicBezTo>
                      <a:cubicBezTo>
                        <a:pt x="120" y="1"/>
                        <a:pt x="120" y="1"/>
                        <a:pt x="12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6" name="Freeform 26"/>
                <p:cNvSpPr>
                  <a:spLocks noEditPoints="1"/>
                </p:cNvSpPr>
                <p:nvPr/>
              </p:nvSpPr>
              <p:spPr bwMode="auto">
                <a:xfrm>
                  <a:off x="-2020" y="3354"/>
                  <a:ext cx="8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  <a:cxn ang="0">
                      <a:pos x="36" y="0"/>
                    </a:cxn>
                  </a:cxnLst>
                  <a:rect l="0" t="0" r="r" b="b"/>
                  <a:pathLst>
                    <a:path w="36"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  <a:moveTo>
                        <a:pt x="36" y="0"/>
                      </a:move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  <a:cubicBezTo>
                        <a:pt x="36" y="0"/>
                        <a:pt x="36" y="0"/>
                        <a:pt x="3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7" name="Freeform 27"/>
                <p:cNvSpPr>
                  <a:spLocks/>
                </p:cNvSpPr>
                <p:nvPr/>
              </p:nvSpPr>
              <p:spPr bwMode="auto">
                <a:xfrm>
                  <a:off x="-912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8" name="Freeform 28"/>
                <p:cNvSpPr>
                  <a:spLocks/>
                </p:cNvSpPr>
                <p:nvPr/>
              </p:nvSpPr>
              <p:spPr bwMode="auto">
                <a:xfrm>
                  <a:off x="-808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59" name="Freeform 29"/>
                <p:cNvSpPr>
                  <a:spLocks/>
                </p:cNvSpPr>
                <p:nvPr/>
              </p:nvSpPr>
              <p:spPr bwMode="auto">
                <a:xfrm>
                  <a:off x="-1049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0" name="Freeform 30"/>
                <p:cNvSpPr>
                  <a:spLocks/>
                </p:cNvSpPr>
                <p:nvPr/>
              </p:nvSpPr>
              <p:spPr bwMode="auto">
                <a:xfrm>
                  <a:off x="-110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1" name="Freeform 31"/>
                <p:cNvSpPr>
                  <a:spLocks/>
                </p:cNvSpPr>
                <p:nvPr/>
              </p:nvSpPr>
              <p:spPr bwMode="auto">
                <a:xfrm>
                  <a:off x="-2382" y="1986"/>
                  <a:ext cx="92" cy="270"/>
                </a:xfrm>
                <a:custGeom>
                  <a:avLst/>
                  <a:gdLst/>
                  <a:ahLst/>
                  <a:cxnLst>
                    <a:cxn ang="0">
                      <a:pos x="39" y="0"/>
                    </a:cxn>
                    <a:cxn ang="0">
                      <a:pos x="37" y="0"/>
                    </a:cxn>
                    <a:cxn ang="0">
                      <a:pos x="35" y="5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5" y="101"/>
                    </a:cxn>
                    <a:cxn ang="0">
                      <a:pos x="5" y="101"/>
                    </a:cxn>
                    <a:cxn ang="0">
                      <a:pos x="5" y="100"/>
                    </a:cxn>
                    <a:cxn ang="0">
                      <a:pos x="6" y="100"/>
                    </a:cxn>
                    <a:cxn ang="0">
                      <a:pos x="12" y="77"/>
                    </a:cxn>
                    <a:cxn ang="0">
                      <a:pos x="29" y="26"/>
                    </a:cxn>
                    <a:cxn ang="0">
                      <a:pos x="35" y="11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7" y="6"/>
                    </a:cxn>
                    <a:cxn ang="0">
                      <a:pos x="39" y="0"/>
                    </a:cxn>
                  </a:cxnLst>
                  <a:rect l="0" t="0" r="r" b="b"/>
                  <a:pathLst>
                    <a:path w="39" h="114">
                      <a:moveTo>
                        <a:pt x="39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1"/>
                        <a:pt x="36" y="3"/>
                        <a:pt x="35" y="5"/>
                      </a:cubicBezTo>
                      <a:cubicBezTo>
                        <a:pt x="34" y="6"/>
                        <a:pt x="15" y="54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3" y="109"/>
                        <a:pt x="4" y="105"/>
                        <a:pt x="5" y="101"/>
                      </a:cubicBezTo>
                      <a:cubicBezTo>
                        <a:pt x="5" y="101"/>
                        <a:pt x="5" y="101"/>
                        <a:pt x="5" y="101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8" y="92"/>
                        <a:pt x="10" y="85"/>
                        <a:pt x="12" y="77"/>
                      </a:cubicBezTo>
                      <a:cubicBezTo>
                        <a:pt x="18" y="56"/>
                        <a:pt x="24" y="38"/>
                        <a:pt x="29" y="26"/>
                      </a:cubicBezTo>
                      <a:cubicBezTo>
                        <a:pt x="31" y="19"/>
                        <a:pt x="33" y="14"/>
                        <a:pt x="35" y="11"/>
                      </a:cubicBezTo>
                      <a:cubicBezTo>
                        <a:pt x="36" y="7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7" y="6"/>
                        <a:pt x="37" y="6"/>
                        <a:pt x="37" y="6"/>
                      </a:cubicBezTo>
                      <a:cubicBezTo>
                        <a:pt x="38" y="3"/>
                        <a:pt x="38" y="2"/>
                        <a:pt x="3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2" name="Freeform 32"/>
                <p:cNvSpPr>
                  <a:spLocks/>
                </p:cNvSpPr>
                <p:nvPr/>
              </p:nvSpPr>
              <p:spPr bwMode="auto">
                <a:xfrm>
                  <a:off x="-237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3" name="Freeform 33"/>
                <p:cNvSpPr>
                  <a:spLocks noEditPoints="1"/>
                </p:cNvSpPr>
                <p:nvPr/>
              </p:nvSpPr>
              <p:spPr bwMode="auto">
                <a:xfrm>
                  <a:off x="-2417" y="1522"/>
                  <a:ext cx="416" cy="1054"/>
                </a:xfrm>
                <a:custGeom>
                  <a:avLst/>
                  <a:gdLst/>
                  <a:ahLst/>
                  <a:cxnLst>
                    <a:cxn ang="0">
                      <a:pos x="2" y="413"/>
                    </a:cxn>
                    <a:cxn ang="0">
                      <a:pos x="0" y="413"/>
                    </a:cxn>
                    <a:cxn ang="0">
                      <a:pos x="0" y="421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1" y="445"/>
                    </a:cxn>
                    <a:cxn ang="0">
                      <a:pos x="2" y="445"/>
                    </a:cxn>
                    <a:cxn ang="0">
                      <a:pos x="3" y="445"/>
                    </a:cxn>
                    <a:cxn ang="0">
                      <a:pos x="2" y="421"/>
                    </a:cxn>
                    <a:cxn ang="0">
                      <a:pos x="2" y="413"/>
                    </a:cxn>
                    <a:cxn ang="0">
                      <a:pos x="17" y="311"/>
                    </a:cxn>
                    <a:cxn ang="0">
                      <a:pos x="15" y="311"/>
                    </a:cxn>
                    <a:cxn ang="0">
                      <a:pos x="0" y="412"/>
                    </a:cxn>
                    <a:cxn ang="0">
                      <a:pos x="2" y="412"/>
                    </a:cxn>
                    <a:cxn ang="0">
                      <a:pos x="17" y="311"/>
                    </a:cxn>
                    <a:cxn ang="0">
                      <a:pos x="89" y="99"/>
                    </a:cxn>
                    <a:cxn ang="0">
                      <a:pos x="87" y="99"/>
                    </a:cxn>
                    <a:cxn ang="0">
                      <a:pos x="68" y="147"/>
                    </a:cxn>
                    <a:cxn ang="0">
                      <a:pos x="52" y="195"/>
                    </a:cxn>
                    <a:cxn ang="0">
                      <a:pos x="54" y="195"/>
                    </a:cxn>
                    <a:cxn ang="0">
                      <a:pos x="70" y="147"/>
                    </a:cxn>
                    <a:cxn ang="0">
                      <a:pos x="89" y="99"/>
                    </a:cxn>
                    <a:cxn ang="0">
                      <a:pos x="175" y="0"/>
                    </a:cxn>
                    <a:cxn ang="0">
                      <a:pos x="175" y="0"/>
                    </a:cxn>
                    <a:cxn ang="0">
                      <a:pos x="88" y="97"/>
                    </a:cxn>
                    <a:cxn ang="0">
                      <a:pos x="87" y="98"/>
                    </a:cxn>
                    <a:cxn ang="0">
                      <a:pos x="90" y="98"/>
                    </a:cxn>
                    <a:cxn ang="0">
                      <a:pos x="90" y="98"/>
                    </a:cxn>
                    <a:cxn ang="0">
                      <a:pos x="141" y="29"/>
                    </a:cxn>
                    <a:cxn ang="0">
                      <a:pos x="165" y="9"/>
                    </a:cxn>
                    <a:cxn ang="0">
                      <a:pos x="173" y="4"/>
                    </a:cxn>
                    <a:cxn ang="0">
                      <a:pos x="176" y="2"/>
                    </a:cxn>
                    <a:cxn ang="0">
                      <a:pos x="175" y="0"/>
                    </a:cxn>
                  </a:cxnLst>
                  <a:rect l="0" t="0" r="r" b="b"/>
                  <a:pathLst>
                    <a:path w="176" h="445">
                      <a:moveTo>
                        <a:pt x="2" y="413"/>
                      </a:moveTo>
                      <a:cubicBezTo>
                        <a:pt x="0" y="413"/>
                        <a:pt x="0" y="413"/>
                        <a:pt x="0" y="413"/>
                      </a:cubicBezTo>
                      <a:cubicBezTo>
                        <a:pt x="0" y="415"/>
                        <a:pt x="0" y="418"/>
                        <a:pt x="0" y="421"/>
                      </a:cubicBezTo>
                      <a:cubicBezTo>
                        <a:pt x="0" y="429"/>
                        <a:pt x="0" y="437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1" y="445"/>
                        <a:pt x="1" y="445"/>
                        <a:pt x="1" y="445"/>
                      </a:cubicBezTo>
                      <a:cubicBezTo>
                        <a:pt x="2" y="445"/>
                        <a:pt x="2" y="445"/>
                        <a:pt x="2" y="445"/>
                      </a:cubicBezTo>
                      <a:cubicBezTo>
                        <a:pt x="3" y="445"/>
                        <a:pt x="3" y="445"/>
                        <a:pt x="3" y="445"/>
                      </a:cubicBezTo>
                      <a:cubicBezTo>
                        <a:pt x="2" y="437"/>
                        <a:pt x="2" y="429"/>
                        <a:pt x="2" y="421"/>
                      </a:cubicBezTo>
                      <a:cubicBezTo>
                        <a:pt x="2" y="418"/>
                        <a:pt x="2" y="415"/>
                        <a:pt x="2" y="413"/>
                      </a:cubicBezTo>
                      <a:moveTo>
                        <a:pt x="17" y="311"/>
                      </a:moveTo>
                      <a:cubicBezTo>
                        <a:pt x="15" y="311"/>
                        <a:pt x="15" y="311"/>
                        <a:pt x="15" y="311"/>
                      </a:cubicBezTo>
                      <a:cubicBezTo>
                        <a:pt x="7" y="343"/>
                        <a:pt x="1" y="378"/>
                        <a:pt x="0" y="412"/>
                      </a:cubicBezTo>
                      <a:cubicBezTo>
                        <a:pt x="2" y="412"/>
                        <a:pt x="2" y="412"/>
                        <a:pt x="2" y="412"/>
                      </a:cubicBezTo>
                      <a:cubicBezTo>
                        <a:pt x="3" y="378"/>
                        <a:pt x="9" y="343"/>
                        <a:pt x="17" y="311"/>
                      </a:cubicBezTo>
                      <a:moveTo>
                        <a:pt x="89" y="99"/>
                      </a:moveTo>
                      <a:cubicBezTo>
                        <a:pt x="87" y="99"/>
                        <a:pt x="87" y="99"/>
                        <a:pt x="87" y="99"/>
                      </a:cubicBezTo>
                      <a:cubicBezTo>
                        <a:pt x="77" y="125"/>
                        <a:pt x="72" y="135"/>
                        <a:pt x="68" y="147"/>
                      </a:cubicBezTo>
                      <a:cubicBezTo>
                        <a:pt x="64" y="157"/>
                        <a:pt x="60" y="168"/>
                        <a:pt x="52" y="195"/>
                      </a:cubicBezTo>
                      <a:cubicBezTo>
                        <a:pt x="54" y="195"/>
                        <a:pt x="54" y="195"/>
                        <a:pt x="54" y="195"/>
                      </a:cubicBezTo>
                      <a:cubicBezTo>
                        <a:pt x="62" y="169"/>
                        <a:pt x="65" y="158"/>
                        <a:pt x="70" y="147"/>
                      </a:cubicBezTo>
                      <a:cubicBezTo>
                        <a:pt x="74" y="136"/>
                        <a:pt x="79" y="126"/>
                        <a:pt x="89" y="99"/>
                      </a:cubicBezTo>
                      <a:moveTo>
                        <a:pt x="175" y="0"/>
                      </a:moveTo>
                      <a:cubicBezTo>
                        <a:pt x="175" y="0"/>
                        <a:pt x="175" y="0"/>
                        <a:pt x="175" y="0"/>
                      </a:cubicBezTo>
                      <a:cubicBezTo>
                        <a:pt x="170" y="3"/>
                        <a:pt x="108" y="43"/>
                        <a:pt x="88" y="97"/>
                      </a:cubicBezTo>
                      <a:cubicBezTo>
                        <a:pt x="88" y="97"/>
                        <a:pt x="88" y="98"/>
                        <a:pt x="87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90" y="98"/>
                        <a:pt x="90" y="98"/>
                        <a:pt x="90" y="98"/>
                      </a:cubicBezTo>
                      <a:cubicBezTo>
                        <a:pt x="100" y="70"/>
                        <a:pt x="121" y="46"/>
                        <a:pt x="141" y="29"/>
                      </a:cubicBezTo>
                      <a:cubicBezTo>
                        <a:pt x="150" y="21"/>
                        <a:pt x="159" y="14"/>
                        <a:pt x="165" y="9"/>
                      </a:cubicBezTo>
                      <a:cubicBezTo>
                        <a:pt x="169" y="7"/>
                        <a:pt x="171" y="5"/>
                        <a:pt x="173" y="4"/>
                      </a:cubicBezTo>
                      <a:cubicBezTo>
                        <a:pt x="175" y="2"/>
                        <a:pt x="176" y="2"/>
                        <a:pt x="176" y="2"/>
                      </a:cubicBezTo>
                      <a:cubicBezTo>
                        <a:pt x="175" y="0"/>
                        <a:pt x="175" y="0"/>
                        <a:pt x="1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4" name="Freeform 34"/>
                <p:cNvSpPr>
                  <a:spLocks/>
                </p:cNvSpPr>
                <p:nvPr/>
              </p:nvSpPr>
              <p:spPr bwMode="auto">
                <a:xfrm>
                  <a:off x="-2211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5" name="Freeform 35"/>
                <p:cNvSpPr>
                  <a:spLocks/>
                </p:cNvSpPr>
                <p:nvPr/>
              </p:nvSpPr>
              <p:spPr bwMode="auto">
                <a:xfrm>
                  <a:off x="-2417" y="2498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6" name="Freeform 36"/>
                <p:cNvSpPr>
                  <a:spLocks/>
                </p:cNvSpPr>
                <p:nvPr/>
              </p:nvSpPr>
              <p:spPr bwMode="auto">
                <a:xfrm>
                  <a:off x="-23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7" name="Freeform 37"/>
                <p:cNvSpPr>
                  <a:spLocks noEditPoints="1"/>
                </p:cNvSpPr>
                <p:nvPr/>
              </p:nvSpPr>
              <p:spPr bwMode="auto">
                <a:xfrm>
                  <a:off x="-2202" y="1986"/>
                  <a:ext cx="54" cy="270"/>
                </a:xfrm>
                <a:custGeom>
                  <a:avLst/>
                  <a:gdLst/>
                  <a:ahLst/>
                  <a:cxnLst>
                    <a:cxn ang="0">
                      <a:pos x="2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2" y="101"/>
                    </a:cxn>
                    <a:cxn ang="0">
                      <a:pos x="2" y="101"/>
                    </a:cxn>
                    <a:cxn ang="0">
                      <a:pos x="23" y="0"/>
                    </a:cxn>
                    <a:cxn ang="0">
                      <a:pos x="20" y="0"/>
                    </a:cxn>
                    <a:cxn ang="0">
                      <a:pos x="2" y="100"/>
                    </a:cxn>
                    <a:cxn ang="0">
                      <a:pos x="4" y="100"/>
                    </a:cxn>
                    <a:cxn ang="0">
                      <a:pos x="23" y="0"/>
                    </a:cxn>
                  </a:cxnLst>
                  <a:rect l="0" t="0" r="r" b="b"/>
                  <a:pathLst>
                    <a:path w="23" h="114">
                      <a:moveTo>
                        <a:pt x="2" y="101"/>
                      </a:moveTo>
                      <a:cubicBezTo>
                        <a:pt x="1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3" y="105"/>
                        <a:pt x="3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moveTo>
                        <a:pt x="23" y="0"/>
                      </a:moveTo>
                      <a:cubicBezTo>
                        <a:pt x="20" y="0"/>
                        <a:pt x="20" y="0"/>
                        <a:pt x="20" y="0"/>
                      </a:cubicBezTo>
                      <a:cubicBezTo>
                        <a:pt x="13" y="34"/>
                        <a:pt x="7" y="65"/>
                        <a:pt x="2" y="100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9" y="65"/>
                        <a:pt x="15" y="34"/>
                        <a:pt x="2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8" name="Freeform 38"/>
                <p:cNvSpPr>
                  <a:spLocks/>
                </p:cNvSpPr>
                <p:nvPr/>
              </p:nvSpPr>
              <p:spPr bwMode="auto">
                <a:xfrm>
                  <a:off x="-219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69" name="Freeform 39"/>
                <p:cNvSpPr>
                  <a:spLocks noEditPoints="1"/>
                </p:cNvSpPr>
                <p:nvPr/>
              </p:nvSpPr>
              <p:spPr bwMode="auto">
                <a:xfrm>
                  <a:off x="-2223" y="2259"/>
                  <a:ext cx="85" cy="1017"/>
                </a:xfrm>
                <a:custGeom>
                  <a:avLst/>
                  <a:gdLst/>
                  <a:ahLst/>
                  <a:cxnLst>
                    <a:cxn ang="0">
                      <a:pos x="24" y="343"/>
                    </a:cxn>
                    <a:cxn ang="0">
                      <a:pos x="22" y="343"/>
                    </a:cxn>
                    <a:cxn ang="0">
                      <a:pos x="30" y="400"/>
                    </a:cxn>
                    <a:cxn ang="0">
                      <a:pos x="34" y="429"/>
                    </a:cxn>
                    <a:cxn ang="0">
                      <a:pos x="36" y="429"/>
                    </a:cxn>
                    <a:cxn ang="0">
                      <a:pos x="32" y="400"/>
                    </a:cxn>
                    <a:cxn ang="0">
                      <a:pos x="26" y="360"/>
                    </a:cxn>
                    <a:cxn ang="0">
                      <a:pos x="24" y="343"/>
                    </a:cxn>
                    <a:cxn ang="0">
                      <a:pos x="9" y="255"/>
                    </a:cxn>
                    <a:cxn ang="0">
                      <a:pos x="7" y="255"/>
                    </a:cxn>
                    <a:cxn ang="0">
                      <a:pos x="22" y="342"/>
                    </a:cxn>
                    <a:cxn ang="0">
                      <a:pos x="24" y="342"/>
                    </a:cxn>
                    <a:cxn ang="0">
                      <a:pos x="9" y="255"/>
                    </a:cxn>
                    <a:cxn ang="0">
                      <a:pos x="7" y="233"/>
                    </a:cxn>
                    <a:cxn ang="0">
                      <a:pos x="5" y="233"/>
                    </a:cxn>
                    <a:cxn ang="0">
                      <a:pos x="7" y="254"/>
                    </a:cxn>
                    <a:cxn ang="0">
                      <a:pos x="9" y="254"/>
                    </a:cxn>
                    <a:cxn ang="0">
                      <a:pos x="7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1" y="112"/>
                    </a:cxn>
                    <a:cxn ang="0">
                      <a:pos x="0" y="125"/>
                    </a:cxn>
                    <a:cxn ang="0">
                      <a:pos x="5" y="232"/>
                    </a:cxn>
                    <a:cxn ang="0">
                      <a:pos x="7" y="232"/>
                    </a:cxn>
                    <a:cxn ang="0">
                      <a:pos x="2" y="125"/>
                    </a:cxn>
                    <a:cxn ang="0">
                      <a:pos x="3" y="112"/>
                    </a:cxn>
                    <a:cxn ang="0">
                      <a:pos x="3" y="102"/>
                    </a:cxn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36" h="429">
                      <a:moveTo>
                        <a:pt x="24" y="343"/>
                      </a:moveTo>
                      <a:cubicBezTo>
                        <a:pt x="22" y="343"/>
                        <a:pt x="22" y="343"/>
                        <a:pt x="22" y="343"/>
                      </a:cubicBezTo>
                      <a:cubicBezTo>
                        <a:pt x="23" y="347"/>
                        <a:pt x="26" y="372"/>
                        <a:pt x="30" y="400"/>
                      </a:cubicBezTo>
                      <a:cubicBezTo>
                        <a:pt x="31" y="410"/>
                        <a:pt x="32" y="420"/>
                        <a:pt x="34" y="429"/>
                      </a:cubicBezTo>
                      <a:cubicBezTo>
                        <a:pt x="36" y="429"/>
                        <a:pt x="36" y="429"/>
                        <a:pt x="36" y="429"/>
                      </a:cubicBezTo>
                      <a:cubicBezTo>
                        <a:pt x="34" y="420"/>
                        <a:pt x="33" y="410"/>
                        <a:pt x="32" y="400"/>
                      </a:cubicBezTo>
                      <a:cubicBezTo>
                        <a:pt x="30" y="385"/>
                        <a:pt x="28" y="370"/>
                        <a:pt x="26" y="360"/>
                      </a:cubicBezTo>
                      <a:cubicBezTo>
                        <a:pt x="25" y="351"/>
                        <a:pt x="24" y="345"/>
                        <a:pt x="24" y="343"/>
                      </a:cubicBezTo>
                      <a:moveTo>
                        <a:pt x="9" y="255"/>
                      </a:moveTo>
                      <a:cubicBezTo>
                        <a:pt x="7" y="255"/>
                        <a:pt x="7" y="255"/>
                        <a:pt x="7" y="255"/>
                      </a:cubicBezTo>
                      <a:cubicBezTo>
                        <a:pt x="10" y="285"/>
                        <a:pt x="15" y="315"/>
                        <a:pt x="22" y="342"/>
                      </a:cubicBezTo>
                      <a:cubicBezTo>
                        <a:pt x="24" y="342"/>
                        <a:pt x="24" y="342"/>
                        <a:pt x="24" y="342"/>
                      </a:cubicBezTo>
                      <a:cubicBezTo>
                        <a:pt x="17" y="315"/>
                        <a:pt x="12" y="285"/>
                        <a:pt x="9" y="255"/>
                      </a:cubicBezTo>
                      <a:moveTo>
                        <a:pt x="7" y="233"/>
                      </a:moveTo>
                      <a:cubicBezTo>
                        <a:pt x="5" y="233"/>
                        <a:pt x="5" y="233"/>
                        <a:pt x="5" y="233"/>
                      </a:cubicBezTo>
                      <a:cubicBezTo>
                        <a:pt x="6" y="240"/>
                        <a:pt x="6" y="247"/>
                        <a:pt x="7" y="254"/>
                      </a:cubicBezTo>
                      <a:cubicBezTo>
                        <a:pt x="9" y="254"/>
                        <a:pt x="9" y="254"/>
                        <a:pt x="9" y="254"/>
                      </a:cubicBezTo>
                      <a:cubicBezTo>
                        <a:pt x="8" y="247"/>
                        <a:pt x="8" y="240"/>
                        <a:pt x="7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05"/>
                        <a:pt x="1" y="109"/>
                        <a:pt x="1" y="112"/>
                      </a:cubicBezTo>
                      <a:cubicBezTo>
                        <a:pt x="1" y="112"/>
                        <a:pt x="0" y="117"/>
                        <a:pt x="0" y="125"/>
                      </a:cubicBezTo>
                      <a:cubicBezTo>
                        <a:pt x="0" y="145"/>
                        <a:pt x="1" y="186"/>
                        <a:pt x="5" y="232"/>
                      </a:cubicBezTo>
                      <a:cubicBezTo>
                        <a:pt x="7" y="232"/>
                        <a:pt x="7" y="232"/>
                        <a:pt x="7" y="232"/>
                      </a:cubicBezTo>
                      <a:cubicBezTo>
                        <a:pt x="3" y="186"/>
                        <a:pt x="2" y="145"/>
                        <a:pt x="2" y="125"/>
                      </a:cubicBezTo>
                      <a:cubicBezTo>
                        <a:pt x="2" y="117"/>
                        <a:pt x="3" y="112"/>
                        <a:pt x="3" y="112"/>
                      </a:cubicBezTo>
                      <a:cubicBezTo>
                        <a:pt x="3" y="109"/>
                        <a:pt x="3" y="105"/>
                        <a:pt x="3" y="102"/>
                      </a:cubicBezTo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5" y="29"/>
                        <a:pt x="2" y="62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2"/>
                        <a:pt x="7" y="29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0" name="Freeform 40"/>
                <p:cNvSpPr>
                  <a:spLocks/>
                </p:cNvSpPr>
                <p:nvPr/>
              </p:nvSpPr>
              <p:spPr bwMode="auto">
                <a:xfrm>
                  <a:off x="-217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1" name="Freeform 41"/>
                <p:cNvSpPr>
                  <a:spLocks/>
                </p:cNvSpPr>
                <p:nvPr/>
              </p:nvSpPr>
              <p:spPr bwMode="auto">
                <a:xfrm>
                  <a:off x="-2207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2" name="Freeform 42"/>
                <p:cNvSpPr>
                  <a:spLocks noEditPoints="1"/>
                </p:cNvSpPr>
                <p:nvPr/>
              </p:nvSpPr>
              <p:spPr bwMode="auto">
                <a:xfrm>
                  <a:off x="-2152" y="1522"/>
                  <a:ext cx="182" cy="1832"/>
                </a:xfrm>
                <a:custGeom>
                  <a:avLst/>
                  <a:gdLst/>
                  <a:ahLst/>
                  <a:cxnLst>
                    <a:cxn ang="0">
                      <a:pos x="6" y="741"/>
                    </a:cxn>
                    <a:cxn ang="0">
                      <a:pos x="4" y="741"/>
                    </a:cxn>
                    <a:cxn ang="0">
                      <a:pos x="10" y="773"/>
                    </a:cxn>
                    <a:cxn ang="0">
                      <a:pos x="12" y="773"/>
                    </a:cxn>
                    <a:cxn ang="0">
                      <a:pos x="6" y="741"/>
                    </a:cxn>
                    <a:cxn ang="0">
                      <a:pos x="23" y="99"/>
                    </a:cxn>
                    <a:cxn ang="0">
                      <a:pos x="21" y="99"/>
                    </a:cxn>
                    <a:cxn ang="0">
                      <a:pos x="9" y="147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1" y="147"/>
                    </a:cxn>
                    <a:cxn ang="0">
                      <a:pos x="23" y="99"/>
                    </a:cxn>
                    <a:cxn ang="0">
                      <a:pos x="75" y="0"/>
                    </a:cxn>
                    <a:cxn ang="0">
                      <a:pos x="75" y="0"/>
                    </a:cxn>
                    <a:cxn ang="0">
                      <a:pos x="22" y="98"/>
                    </a:cxn>
                    <a:cxn ang="0">
                      <a:pos x="24" y="98"/>
                    </a:cxn>
                    <a:cxn ang="0">
                      <a:pos x="51" y="38"/>
                    </a:cxn>
                    <a:cxn ang="0">
                      <a:pos x="69" y="11"/>
                    </a:cxn>
                    <a:cxn ang="0">
                      <a:pos x="75" y="4"/>
                    </a:cxn>
                    <a:cxn ang="0">
                      <a:pos x="76" y="2"/>
                    </a:cxn>
                    <a:cxn ang="0">
                      <a:pos x="77" y="2"/>
                    </a:cxn>
                    <a:cxn ang="0">
                      <a:pos x="75" y="0"/>
                    </a:cxn>
                  </a:cxnLst>
                  <a:rect l="0" t="0" r="r" b="b"/>
                  <a:pathLst>
                    <a:path w="77" h="773">
                      <a:moveTo>
                        <a:pt x="6" y="741"/>
                      </a:moveTo>
                      <a:cubicBezTo>
                        <a:pt x="4" y="741"/>
                        <a:pt x="4" y="741"/>
                        <a:pt x="4" y="741"/>
                      </a:cubicBezTo>
                      <a:cubicBezTo>
                        <a:pt x="6" y="753"/>
                        <a:pt x="8" y="765"/>
                        <a:pt x="10" y="773"/>
                      </a:cubicBezTo>
                      <a:cubicBezTo>
                        <a:pt x="12" y="773"/>
                        <a:pt x="12" y="773"/>
                        <a:pt x="12" y="773"/>
                      </a:cubicBezTo>
                      <a:cubicBezTo>
                        <a:pt x="10" y="765"/>
                        <a:pt x="8" y="753"/>
                        <a:pt x="6" y="741"/>
                      </a:cubicBezTo>
                      <a:moveTo>
                        <a:pt x="23" y="99"/>
                      </a:moveTo>
                      <a:cubicBezTo>
                        <a:pt x="21" y="99"/>
                        <a:pt x="21" y="99"/>
                        <a:pt x="21" y="99"/>
                      </a:cubicBezTo>
                      <a:cubicBezTo>
                        <a:pt x="17" y="113"/>
                        <a:pt x="12" y="130"/>
                        <a:pt x="9" y="147"/>
                      </a:cubicBezTo>
                      <a:cubicBezTo>
                        <a:pt x="6" y="164"/>
                        <a:pt x="3" y="180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5" y="180"/>
                        <a:pt x="8" y="164"/>
                        <a:pt x="11" y="147"/>
                      </a:cubicBezTo>
                      <a:cubicBezTo>
                        <a:pt x="14" y="130"/>
                        <a:pt x="19" y="114"/>
                        <a:pt x="23" y="99"/>
                      </a:cubicBezTo>
                      <a:moveTo>
                        <a:pt x="75" y="0"/>
                      </a:moveTo>
                      <a:cubicBezTo>
                        <a:pt x="75" y="0"/>
                        <a:pt x="75" y="0"/>
                        <a:pt x="75" y="0"/>
                      </a:cubicBezTo>
                      <a:cubicBezTo>
                        <a:pt x="74" y="1"/>
                        <a:pt x="43" y="35"/>
                        <a:pt x="22" y="98"/>
                      </a:cubicBezTo>
                      <a:cubicBezTo>
                        <a:pt x="24" y="98"/>
                        <a:pt x="24" y="98"/>
                        <a:pt x="24" y="98"/>
                      </a:cubicBezTo>
                      <a:cubicBezTo>
                        <a:pt x="32" y="74"/>
                        <a:pt x="42" y="54"/>
                        <a:pt x="51" y="38"/>
                      </a:cubicBezTo>
                      <a:cubicBezTo>
                        <a:pt x="58" y="26"/>
                        <a:pt x="64" y="17"/>
                        <a:pt x="69" y="11"/>
                      </a:cubicBezTo>
                      <a:cubicBezTo>
                        <a:pt x="71" y="8"/>
                        <a:pt x="73" y="5"/>
                        <a:pt x="75" y="4"/>
                      </a:cubicBezTo>
                      <a:cubicBezTo>
                        <a:pt x="75" y="3"/>
                        <a:pt x="76" y="3"/>
                        <a:pt x="76" y="2"/>
                      </a:cubicBezTo>
                      <a:cubicBezTo>
                        <a:pt x="77" y="2"/>
                        <a:pt x="77" y="2"/>
                        <a:pt x="77" y="2"/>
                      </a:cubicBezTo>
                      <a:cubicBezTo>
                        <a:pt x="75" y="0"/>
                        <a:pt x="75" y="0"/>
                        <a:pt x="7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3" name="Freeform 43"/>
                <p:cNvSpPr>
                  <a:spLocks/>
                </p:cNvSpPr>
                <p:nvPr/>
              </p:nvSpPr>
              <p:spPr bwMode="auto">
                <a:xfrm>
                  <a:off x="-2103" y="17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4" name="Freeform 44"/>
                <p:cNvSpPr>
                  <a:spLocks/>
                </p:cNvSpPr>
                <p:nvPr/>
              </p:nvSpPr>
              <p:spPr bwMode="auto">
                <a:xfrm>
                  <a:off x="-2211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5" name="Freeform 45"/>
                <p:cNvSpPr>
                  <a:spLocks/>
                </p:cNvSpPr>
                <p:nvPr/>
              </p:nvSpPr>
              <p:spPr bwMode="auto">
                <a:xfrm>
                  <a:off x="-214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6" name="Freeform 46"/>
                <p:cNvSpPr>
                  <a:spLocks/>
                </p:cNvSpPr>
                <p:nvPr/>
              </p:nvSpPr>
              <p:spPr bwMode="auto">
                <a:xfrm>
                  <a:off x="-2129" y="3356"/>
                  <a:ext cx="12" cy="2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" y="11"/>
                    </a:cxn>
                    <a:cxn ang="0">
                      <a:pos x="5" y="1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5"/>
                        <a:pt x="2" y="9"/>
                        <a:pt x="3" y="11"/>
                      </a:cubicBezTo>
                      <a:cubicBezTo>
                        <a:pt x="5" y="11"/>
                        <a:pt x="5" y="11"/>
                        <a:pt x="5" y="11"/>
                      </a:cubicBezTo>
                      <a:cubicBezTo>
                        <a:pt x="4" y="8"/>
                        <a:pt x="3" y="5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7" name="Freeform 47"/>
                <p:cNvSpPr>
                  <a:spLocks/>
                </p:cNvSpPr>
                <p:nvPr/>
              </p:nvSpPr>
              <p:spPr bwMode="auto">
                <a:xfrm>
                  <a:off x="-2129" y="33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8" name="Freeform 48"/>
                <p:cNvSpPr>
                  <a:spLocks/>
                </p:cNvSpPr>
                <p:nvPr/>
              </p:nvSpPr>
              <p:spPr bwMode="auto">
                <a:xfrm>
                  <a:off x="-2221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79" name="Freeform 49"/>
                <p:cNvSpPr>
                  <a:spLocks/>
                </p:cNvSpPr>
                <p:nvPr/>
              </p:nvSpPr>
              <p:spPr bwMode="auto">
                <a:xfrm>
                  <a:off x="-220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0" name="Freeform 50"/>
                <p:cNvSpPr>
                  <a:spLocks/>
                </p:cNvSpPr>
                <p:nvPr/>
              </p:nvSpPr>
              <p:spPr bwMode="auto">
                <a:xfrm>
                  <a:off x="-2020" y="1986"/>
                  <a:ext cx="26" cy="270"/>
                </a:xfrm>
                <a:custGeom>
                  <a:avLst/>
                  <a:gdLst/>
                  <a:ahLst/>
                  <a:cxnLst>
                    <a:cxn ang="0">
                      <a:pos x="11" y="0"/>
                    </a:cxn>
                    <a:cxn ang="0">
                      <a:pos x="9" y="0"/>
                    </a:cxn>
                    <a:cxn ang="0">
                      <a:pos x="8" y="9"/>
                    </a:cxn>
                    <a:cxn ang="0">
                      <a:pos x="8" y="9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10" y="9"/>
                    </a:cxn>
                    <a:cxn ang="0">
                      <a:pos x="11" y="0"/>
                    </a:cxn>
                  </a:cxnLst>
                  <a:rect l="0" t="0" r="r" b="b"/>
                  <a:pathLst>
                    <a:path w="11" h="114">
                      <a:moveTo>
                        <a:pt x="11" y="0"/>
                      </a:moveTo>
                      <a:cubicBezTo>
                        <a:pt x="9" y="0"/>
                        <a:pt x="9" y="0"/>
                        <a:pt x="9" y="0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8" y="9"/>
                        <a:pt x="8" y="9"/>
                        <a:pt x="8" y="9"/>
                      </a:cubicBezTo>
                      <a:cubicBezTo>
                        <a:pt x="5" y="37"/>
                        <a:pt x="3" y="68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1" y="105"/>
                        <a:pt x="1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4" y="77"/>
                        <a:pt x="7" y="42"/>
                        <a:pt x="10" y="9"/>
                      </a:cubicBezTo>
                      <a:cubicBezTo>
                        <a:pt x="11" y="0"/>
                        <a:pt x="11" y="0"/>
                        <a:pt x="1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1" name="Freeform 51"/>
                <p:cNvSpPr>
                  <a:spLocks/>
                </p:cNvSpPr>
                <p:nvPr/>
              </p:nvSpPr>
              <p:spPr bwMode="auto">
                <a:xfrm>
                  <a:off x="-2017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2" name="Freeform 52"/>
                <p:cNvSpPr>
                  <a:spLocks noEditPoints="1"/>
                </p:cNvSpPr>
                <p:nvPr/>
              </p:nvSpPr>
              <p:spPr bwMode="auto">
                <a:xfrm>
                  <a:off x="-2029" y="2259"/>
                  <a:ext cx="14" cy="1017"/>
                </a:xfrm>
                <a:custGeom>
                  <a:avLst/>
                  <a:gdLst/>
                  <a:ahLst/>
                  <a:cxnLst>
                    <a:cxn ang="0">
                      <a:pos x="5" y="343"/>
                    </a:cxn>
                    <a:cxn ang="0">
                      <a:pos x="3" y="343"/>
                    </a:cxn>
                    <a:cxn ang="0">
                      <a:pos x="2" y="429"/>
                    </a:cxn>
                    <a:cxn ang="0">
                      <a:pos x="4" y="429"/>
                    </a:cxn>
                    <a:cxn ang="0">
                      <a:pos x="5" y="343"/>
                    </a:cxn>
                    <a:cxn ang="0">
                      <a:pos x="4" y="339"/>
                    </a:cxn>
                    <a:cxn ang="0">
                      <a:pos x="4" y="339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2" y="254"/>
                    </a:cxn>
                    <a:cxn ang="0">
                      <a:pos x="2" y="255"/>
                    </a:cxn>
                    <a:cxn ang="0">
                      <a:pos x="1" y="255"/>
                    </a:cxn>
                    <a:cxn ang="0">
                      <a:pos x="3" y="339"/>
                    </a:cxn>
                    <a:cxn ang="0">
                      <a:pos x="3" y="342"/>
                    </a:cxn>
                    <a:cxn ang="0">
                      <a:pos x="5" y="342"/>
                    </a:cxn>
                    <a:cxn ang="0">
                      <a:pos x="5" y="339"/>
                    </a:cxn>
                    <a:cxn ang="0">
                      <a:pos x="5" y="339"/>
                    </a:cxn>
                    <a:cxn ang="0">
                      <a:pos x="4" y="327"/>
                    </a:cxn>
                    <a:cxn ang="0">
                      <a:pos x="3" y="233"/>
                    </a:cxn>
                    <a:cxn ang="0">
                      <a:pos x="3" y="102"/>
                    </a:cxn>
                    <a:cxn ang="0">
                      <a:pos x="1" y="102"/>
                    </a:cxn>
                    <a:cxn ang="0">
                      <a:pos x="0" y="184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84"/>
                    </a:cxn>
                    <a:cxn ang="0">
                      <a:pos x="3" y="102"/>
                    </a:cxn>
                    <a:cxn ang="0">
                      <a:pos x="6" y="0"/>
                    </a:cxn>
                    <a:cxn ang="0">
                      <a:pos x="4" y="0"/>
                    </a:cxn>
                    <a:cxn ang="0">
                      <a:pos x="1" y="101"/>
                    </a:cxn>
                    <a:cxn ang="0">
                      <a:pos x="3" y="101"/>
                    </a:cxn>
                    <a:cxn ang="0">
                      <a:pos x="6" y="0"/>
                    </a:cxn>
                  </a:cxnLst>
                  <a:rect l="0" t="0" r="r" b="b"/>
                  <a:pathLst>
                    <a:path w="6" h="429">
                      <a:moveTo>
                        <a:pt x="5" y="343"/>
                      </a:moveTo>
                      <a:cubicBezTo>
                        <a:pt x="3" y="343"/>
                        <a:pt x="3" y="343"/>
                        <a:pt x="3" y="343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4" y="429"/>
                        <a:pt x="4" y="429"/>
                        <a:pt x="4" y="429"/>
                      </a:cubicBezTo>
                      <a:cubicBezTo>
                        <a:pt x="5" y="343"/>
                        <a:pt x="5" y="343"/>
                        <a:pt x="5" y="343"/>
                      </a:cubicBezTo>
                      <a:moveTo>
                        <a:pt x="4" y="339"/>
                      </a:moveTo>
                      <a:cubicBezTo>
                        <a:pt x="4" y="339"/>
                        <a:pt x="4" y="339"/>
                        <a:pt x="4" y="339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40"/>
                        <a:pt x="1" y="247"/>
                        <a:pt x="1" y="254"/>
                      </a:cubicBezTo>
                      <a:cubicBezTo>
                        <a:pt x="2" y="254"/>
                        <a:pt x="2" y="254"/>
                        <a:pt x="2" y="254"/>
                      </a:cubicBezTo>
                      <a:cubicBezTo>
                        <a:pt x="2" y="255"/>
                        <a:pt x="2" y="255"/>
                        <a:pt x="2" y="255"/>
                      </a:cubicBez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06"/>
                        <a:pt x="3" y="338"/>
                        <a:pt x="3" y="339"/>
                      </a:cubicBezTo>
                      <a:cubicBezTo>
                        <a:pt x="3" y="342"/>
                        <a:pt x="3" y="342"/>
                        <a:pt x="3" y="342"/>
                      </a:cubicBezTo>
                      <a:cubicBezTo>
                        <a:pt x="5" y="342"/>
                        <a:pt x="5" y="342"/>
                        <a:pt x="5" y="342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9"/>
                        <a:pt x="5" y="339"/>
                      </a:cubicBezTo>
                      <a:cubicBezTo>
                        <a:pt x="5" y="339"/>
                        <a:pt x="5" y="335"/>
                        <a:pt x="4" y="327"/>
                      </a:cubicBezTo>
                      <a:cubicBezTo>
                        <a:pt x="4" y="310"/>
                        <a:pt x="3" y="277"/>
                        <a:pt x="3" y="233"/>
                      </a:cubicBezTo>
                      <a:moveTo>
                        <a:pt x="3" y="102"/>
                      </a:moveTo>
                      <a:cubicBezTo>
                        <a:pt x="1" y="102"/>
                        <a:pt x="1" y="102"/>
                        <a:pt x="1" y="102"/>
                      </a:cubicBezTo>
                      <a:cubicBezTo>
                        <a:pt x="1" y="130"/>
                        <a:pt x="0" y="158"/>
                        <a:pt x="0" y="184"/>
                      </a:cubicBezTo>
                      <a:cubicBezTo>
                        <a:pt x="0" y="201"/>
                        <a:pt x="0" y="217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217"/>
                        <a:pt x="2" y="201"/>
                        <a:pt x="2" y="184"/>
                      </a:cubicBezTo>
                      <a:cubicBezTo>
                        <a:pt x="2" y="158"/>
                        <a:pt x="3" y="130"/>
                        <a:pt x="3" y="102"/>
                      </a:cubicBezTo>
                      <a:moveTo>
                        <a:pt x="6" y="0"/>
                      </a:moveTo>
                      <a:cubicBezTo>
                        <a:pt x="4" y="0"/>
                        <a:pt x="4" y="0"/>
                        <a:pt x="4" y="0"/>
                      </a:cubicBezTo>
                      <a:cubicBezTo>
                        <a:pt x="3" y="33"/>
                        <a:pt x="2" y="68"/>
                        <a:pt x="1" y="101"/>
                      </a:cubicBezTo>
                      <a:cubicBezTo>
                        <a:pt x="3" y="101"/>
                        <a:pt x="3" y="101"/>
                        <a:pt x="3" y="101"/>
                      </a:cubicBezTo>
                      <a:cubicBezTo>
                        <a:pt x="4" y="68"/>
                        <a:pt x="5" y="33"/>
                        <a:pt x="6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3" name="Freeform 53"/>
                <p:cNvSpPr>
                  <a:spLocks/>
                </p:cNvSpPr>
                <p:nvPr/>
              </p:nvSpPr>
              <p:spPr bwMode="auto">
                <a:xfrm>
                  <a:off x="-2022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4" name="Freeform 54"/>
                <p:cNvSpPr>
                  <a:spLocks/>
                </p:cNvSpPr>
                <p:nvPr/>
              </p:nvSpPr>
              <p:spPr bwMode="auto">
                <a:xfrm>
                  <a:off x="-2027" y="2861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5" name="Freeform 55"/>
                <p:cNvSpPr>
                  <a:spLocks noEditPoints="1"/>
                </p:cNvSpPr>
                <p:nvPr/>
              </p:nvSpPr>
              <p:spPr bwMode="auto">
                <a:xfrm>
                  <a:off x="-2024" y="1522"/>
                  <a:ext cx="92" cy="1832"/>
                </a:xfrm>
                <a:custGeom>
                  <a:avLst/>
                  <a:gdLst/>
                  <a:ahLst/>
                  <a:cxnLst>
                    <a:cxn ang="0">
                      <a:pos x="2" y="741"/>
                    </a:cxn>
                    <a:cxn ang="0">
                      <a:pos x="0" y="741"/>
                    </a:cxn>
                    <a:cxn ang="0">
                      <a:pos x="0" y="773"/>
                    </a:cxn>
                    <a:cxn ang="0">
                      <a:pos x="2" y="773"/>
                    </a:cxn>
                    <a:cxn ang="0">
                      <a:pos x="2" y="741"/>
                    </a:cxn>
                    <a:cxn ang="0">
                      <a:pos x="19" y="99"/>
                    </a:cxn>
                    <a:cxn ang="0">
                      <a:pos x="17" y="99"/>
                    </a:cxn>
                    <a:cxn ang="0">
                      <a:pos x="16" y="123"/>
                    </a:cxn>
                    <a:cxn ang="0">
                      <a:pos x="16" y="123"/>
                    </a:cxn>
                    <a:cxn ang="0">
                      <a:pos x="11" y="195"/>
                    </a:cxn>
                    <a:cxn ang="0">
                      <a:pos x="13" y="195"/>
                    </a:cxn>
                    <a:cxn ang="0">
                      <a:pos x="18" y="123"/>
                    </a:cxn>
                    <a:cxn ang="0">
                      <a:pos x="18" y="123"/>
                    </a:cxn>
                    <a:cxn ang="0">
                      <a:pos x="19" y="99"/>
                    </a:cxn>
                    <a:cxn ang="0">
                      <a:pos x="38" y="0"/>
                    </a:cxn>
                    <a:cxn ang="0">
                      <a:pos x="37" y="0"/>
                    </a:cxn>
                    <a:cxn ang="0">
                      <a:pos x="17" y="98"/>
                    </a:cxn>
                    <a:cxn ang="0">
                      <a:pos x="19" y="98"/>
                    </a:cxn>
                    <a:cxn ang="0">
                      <a:pos x="29" y="32"/>
                    </a:cxn>
                    <a:cxn ang="0">
                      <a:pos x="36" y="9"/>
                    </a:cxn>
                    <a:cxn ang="0">
                      <a:pos x="38" y="3"/>
                    </a:cxn>
                    <a:cxn ang="0">
                      <a:pos x="39" y="1"/>
                    </a:cxn>
                    <a:cxn ang="0">
                      <a:pos x="38" y="0"/>
                    </a:cxn>
                  </a:cxnLst>
                  <a:rect l="0" t="0" r="r" b="b"/>
                  <a:pathLst>
                    <a:path w="39" h="773">
                      <a:moveTo>
                        <a:pt x="2" y="741"/>
                      </a:moveTo>
                      <a:cubicBezTo>
                        <a:pt x="0" y="741"/>
                        <a:pt x="0" y="741"/>
                        <a:pt x="0" y="741"/>
                      </a:cubicBezTo>
                      <a:cubicBezTo>
                        <a:pt x="0" y="773"/>
                        <a:pt x="0" y="773"/>
                        <a:pt x="0" y="773"/>
                      </a:cubicBezTo>
                      <a:cubicBezTo>
                        <a:pt x="2" y="773"/>
                        <a:pt x="2" y="773"/>
                        <a:pt x="2" y="773"/>
                      </a:cubicBezTo>
                      <a:cubicBezTo>
                        <a:pt x="2" y="741"/>
                        <a:pt x="2" y="741"/>
                        <a:pt x="2" y="741"/>
                      </a:cubicBezTo>
                      <a:moveTo>
                        <a:pt x="19" y="99"/>
                      </a:moveTo>
                      <a:cubicBezTo>
                        <a:pt x="17" y="99"/>
                        <a:pt x="17" y="99"/>
                        <a:pt x="17" y="99"/>
                      </a:cubicBezTo>
                      <a:cubicBezTo>
                        <a:pt x="17" y="107"/>
                        <a:pt x="16" y="114"/>
                        <a:pt x="16" y="123"/>
                      </a:cubicBezTo>
                      <a:cubicBezTo>
                        <a:pt x="16" y="123"/>
                        <a:pt x="16" y="123"/>
                        <a:pt x="16" y="123"/>
                      </a:cubicBezTo>
                      <a:cubicBezTo>
                        <a:pt x="11" y="195"/>
                        <a:pt x="11" y="195"/>
                        <a:pt x="11" y="195"/>
                      </a:cubicBezTo>
                      <a:cubicBezTo>
                        <a:pt x="13" y="195"/>
                        <a:pt x="13" y="195"/>
                        <a:pt x="13" y="195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23"/>
                        <a:pt x="18" y="123"/>
                        <a:pt x="18" y="123"/>
                      </a:cubicBezTo>
                      <a:cubicBezTo>
                        <a:pt x="18" y="115"/>
                        <a:pt x="19" y="107"/>
                        <a:pt x="19" y="99"/>
                      </a:cubicBezTo>
                      <a:moveTo>
                        <a:pt x="38" y="0"/>
                      </a:moveTo>
                      <a:cubicBezTo>
                        <a:pt x="37" y="0"/>
                        <a:pt x="37" y="0"/>
                        <a:pt x="37" y="0"/>
                      </a:cubicBezTo>
                      <a:cubicBezTo>
                        <a:pt x="36" y="3"/>
                        <a:pt x="21" y="37"/>
                        <a:pt x="17" y="98"/>
                      </a:cubicBezTo>
                      <a:cubicBezTo>
                        <a:pt x="19" y="98"/>
                        <a:pt x="19" y="98"/>
                        <a:pt x="19" y="98"/>
                      </a:cubicBezTo>
                      <a:cubicBezTo>
                        <a:pt x="21" y="70"/>
                        <a:pt x="25" y="48"/>
                        <a:pt x="29" y="32"/>
                      </a:cubicBezTo>
                      <a:cubicBezTo>
                        <a:pt x="32" y="22"/>
                        <a:pt x="34" y="14"/>
                        <a:pt x="36" y="9"/>
                      </a:cubicBezTo>
                      <a:cubicBezTo>
                        <a:pt x="37" y="6"/>
                        <a:pt x="38" y="4"/>
                        <a:pt x="38" y="3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8" y="0"/>
                        <a:pt x="38" y="0"/>
                        <a:pt x="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6" name="Freeform 56"/>
                <p:cNvSpPr>
                  <a:spLocks/>
                </p:cNvSpPr>
                <p:nvPr/>
              </p:nvSpPr>
              <p:spPr bwMode="auto">
                <a:xfrm>
                  <a:off x="-1984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7" name="Freeform 57"/>
                <p:cNvSpPr>
                  <a:spLocks/>
                </p:cNvSpPr>
                <p:nvPr/>
              </p:nvSpPr>
              <p:spPr bwMode="auto">
                <a:xfrm>
                  <a:off x="-2027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8" name="Freeform 58"/>
                <p:cNvSpPr>
                  <a:spLocks/>
                </p:cNvSpPr>
                <p:nvPr/>
              </p:nvSpPr>
              <p:spPr bwMode="auto">
                <a:xfrm>
                  <a:off x="-2024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89" name="Freeform 59"/>
                <p:cNvSpPr>
                  <a:spLocks/>
                </p:cNvSpPr>
                <p:nvPr/>
              </p:nvSpPr>
              <p:spPr bwMode="auto">
                <a:xfrm>
                  <a:off x="-2027" y="3356"/>
                  <a:ext cx="7" cy="36"/>
                </a:xfrm>
                <a:custGeom>
                  <a:avLst/>
                  <a:gdLst/>
                  <a:ahLst/>
                  <a:cxnLst>
                    <a:cxn ang="0">
                      <a:pos x="7" y="0"/>
                    </a:cxn>
                    <a:cxn ang="0">
                      <a:pos x="3" y="0"/>
                    </a:cxn>
                    <a:cxn ang="0">
                      <a:pos x="0" y="36"/>
                    </a:cxn>
                    <a:cxn ang="0">
                      <a:pos x="5" y="36"/>
                    </a:cxn>
                    <a:cxn ang="0">
                      <a:pos x="7" y="0"/>
                    </a:cxn>
                    <a:cxn ang="0">
                      <a:pos x="7" y="0"/>
                    </a:cxn>
                  </a:cxnLst>
                  <a:rect l="0" t="0" r="r" b="b"/>
                  <a:pathLst>
                    <a:path w="7" h="36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36"/>
                      </a:lnTo>
                      <a:lnTo>
                        <a:pt x="5" y="36"/>
                      </a:lnTo>
                      <a:lnTo>
                        <a:pt x="7" y="0"/>
                      </a:lnTo>
                      <a:lnTo>
                        <a:pt x="7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0" name="Freeform 60"/>
                <p:cNvSpPr>
                  <a:spLocks/>
                </p:cNvSpPr>
                <p:nvPr/>
              </p:nvSpPr>
              <p:spPr bwMode="auto">
                <a:xfrm>
                  <a:off x="-2024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1" name="Freeform 61"/>
                <p:cNvSpPr>
                  <a:spLocks/>
                </p:cNvSpPr>
                <p:nvPr/>
              </p:nvSpPr>
              <p:spPr bwMode="auto">
                <a:xfrm>
                  <a:off x="-2027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2" name="Freeform 62"/>
                <p:cNvSpPr>
                  <a:spLocks/>
                </p:cNvSpPr>
                <p:nvPr/>
              </p:nvSpPr>
              <p:spPr bwMode="auto">
                <a:xfrm>
                  <a:off x="-2020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3" name="Freeform 63"/>
                <p:cNvSpPr>
                  <a:spLocks/>
                </p:cNvSpPr>
                <p:nvPr/>
              </p:nvSpPr>
              <p:spPr bwMode="auto">
                <a:xfrm>
                  <a:off x="-1840" y="1986"/>
                  <a:ext cx="12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4"/>
                    </a:cxn>
                    <a:cxn ang="0">
                      <a:pos x="3" y="114"/>
                    </a:cxn>
                    <a:cxn ang="0">
                      <a:pos x="5" y="114"/>
                    </a:cxn>
                    <a:cxn ang="0">
                      <a:pos x="5" y="101"/>
                    </a:cxn>
                    <a:cxn ang="0">
                      <a:pos x="4" y="101"/>
                    </a:cxn>
                    <a:cxn ang="0">
                      <a:pos x="4" y="100"/>
                    </a:cxn>
                    <a:cxn ang="0">
                      <a:pos x="5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4"/>
                      </a:cubicBezTo>
                      <a:cubicBezTo>
                        <a:pt x="2" y="25"/>
                        <a:pt x="2" y="67"/>
                        <a:pt x="3" y="114"/>
                      </a:cubicBezTo>
                      <a:cubicBezTo>
                        <a:pt x="5" y="114"/>
                        <a:pt x="5" y="114"/>
                        <a:pt x="5" y="114"/>
                      </a:cubicBezTo>
                      <a:cubicBezTo>
                        <a:pt x="5" y="109"/>
                        <a:pt x="5" y="105"/>
                        <a:pt x="5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4" y="100"/>
                        <a:pt x="4" y="100"/>
                        <a:pt x="4" y="100"/>
                      </a:cubicBezTo>
                      <a:cubicBezTo>
                        <a:pt x="5" y="100"/>
                        <a:pt x="5" y="100"/>
                        <a:pt x="5" y="100"/>
                      </a:cubicBezTo>
                      <a:cubicBezTo>
                        <a:pt x="4" y="59"/>
                        <a:pt x="4" y="23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4" name="Freeform 64"/>
                <p:cNvSpPr>
                  <a:spLocks/>
                </p:cNvSpPr>
                <p:nvPr/>
              </p:nvSpPr>
              <p:spPr bwMode="auto">
                <a:xfrm>
                  <a:off x="-1830" y="2223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5" name="Freeform 65"/>
                <p:cNvSpPr>
                  <a:spLocks noEditPoints="1"/>
                </p:cNvSpPr>
                <p:nvPr/>
              </p:nvSpPr>
              <p:spPr bwMode="auto">
                <a:xfrm>
                  <a:off x="-1911" y="2259"/>
                  <a:ext cx="83" cy="1017"/>
                </a:xfrm>
                <a:custGeom>
                  <a:avLst/>
                  <a:gdLst/>
                  <a:ahLst/>
                  <a:cxnLst>
                    <a:cxn ang="0">
                      <a:pos x="15" y="343"/>
                    </a:cxn>
                    <a:cxn ang="0">
                      <a:pos x="13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15" y="343"/>
                    </a:cxn>
                    <a:cxn ang="0">
                      <a:pos x="31" y="233"/>
                    </a:cxn>
                    <a:cxn ang="0">
                      <a:pos x="29" y="233"/>
                    </a:cxn>
                    <a:cxn ang="0">
                      <a:pos x="22" y="285"/>
                    </a:cxn>
                    <a:cxn ang="0">
                      <a:pos x="16" y="323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39"/>
                    </a:cxn>
                    <a:cxn ang="0">
                      <a:pos x="13" y="342"/>
                    </a:cxn>
                    <a:cxn ang="0">
                      <a:pos x="15" y="342"/>
                    </a:cxn>
                    <a:cxn ang="0">
                      <a:pos x="15" y="339"/>
                    </a:cxn>
                    <a:cxn ang="0">
                      <a:pos x="15" y="339"/>
                    </a:cxn>
                    <a:cxn ang="0">
                      <a:pos x="31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3" y="111"/>
                    </a:cxn>
                    <a:cxn ang="0">
                      <a:pos x="33" y="176"/>
                    </a:cxn>
                    <a:cxn ang="0">
                      <a:pos x="33" y="195"/>
                    </a:cxn>
                    <a:cxn ang="0">
                      <a:pos x="33" y="202"/>
                    </a:cxn>
                    <a:cxn ang="0">
                      <a:pos x="29" y="232"/>
                    </a:cxn>
                    <a:cxn ang="0">
                      <a:pos x="31" y="23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202"/>
                    </a:cxn>
                    <a:cxn ang="0">
                      <a:pos x="35" y="111"/>
                    </a:cxn>
                    <a:cxn ang="0">
                      <a:pos x="35" y="102"/>
                    </a:cxn>
                    <a:cxn ang="0">
                      <a:pos x="35" y="0"/>
                    </a:cxn>
                    <a:cxn ang="0">
                      <a:pos x="33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35" y="0"/>
                    </a:cxn>
                  </a:cxnLst>
                  <a:rect l="0" t="0" r="r" b="b"/>
                  <a:pathLst>
                    <a:path w="35" h="429">
                      <a:moveTo>
                        <a:pt x="15" y="343"/>
                      </a:moveTo>
                      <a:cubicBezTo>
                        <a:pt x="13" y="343"/>
                        <a:pt x="13" y="343"/>
                        <a:pt x="13" y="343"/>
                      </a:cubicBezTo>
                      <a:cubicBezTo>
                        <a:pt x="11" y="377"/>
                        <a:pt x="6" y="406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8" y="406"/>
                        <a:pt x="13" y="377"/>
                        <a:pt x="15" y="343"/>
                      </a:cubicBezTo>
                      <a:moveTo>
                        <a:pt x="31" y="233"/>
                      </a:moveTo>
                      <a:cubicBezTo>
                        <a:pt x="29" y="233"/>
                        <a:pt x="29" y="233"/>
                        <a:pt x="29" y="233"/>
                      </a:cubicBezTo>
                      <a:cubicBezTo>
                        <a:pt x="27" y="250"/>
                        <a:pt x="24" y="268"/>
                        <a:pt x="22" y="285"/>
                      </a:cubicBezTo>
                      <a:cubicBezTo>
                        <a:pt x="20" y="300"/>
                        <a:pt x="17" y="313"/>
                        <a:pt x="16" y="323"/>
                      </a:cubicBezTo>
                      <a:cubicBezTo>
                        <a:pt x="14" y="333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39"/>
                        <a:pt x="13" y="339"/>
                        <a:pt x="13" y="339"/>
                      </a:cubicBezTo>
                      <a:cubicBezTo>
                        <a:pt x="13" y="340"/>
                        <a:pt x="13" y="341"/>
                        <a:pt x="13" y="342"/>
                      </a:cubicBezTo>
                      <a:cubicBezTo>
                        <a:pt x="15" y="342"/>
                        <a:pt x="15" y="342"/>
                        <a:pt x="15" y="342"/>
                      </a:cubicBezTo>
                      <a:cubicBezTo>
                        <a:pt x="15" y="341"/>
                        <a:pt x="15" y="340"/>
                        <a:pt x="15" y="339"/>
                      </a:cubicBezTo>
                      <a:cubicBezTo>
                        <a:pt x="15" y="339"/>
                        <a:pt x="15" y="339"/>
                        <a:pt x="15" y="339"/>
                      </a:cubicBezTo>
                      <a:cubicBezTo>
                        <a:pt x="15" y="339"/>
                        <a:pt x="25" y="279"/>
                        <a:pt x="31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3" y="105"/>
                        <a:pt x="33" y="108"/>
                        <a:pt x="33" y="111"/>
                      </a:cubicBezTo>
                      <a:cubicBezTo>
                        <a:pt x="33" y="137"/>
                        <a:pt x="33" y="160"/>
                        <a:pt x="33" y="176"/>
                      </a:cubicBezTo>
                      <a:cubicBezTo>
                        <a:pt x="33" y="184"/>
                        <a:pt x="33" y="190"/>
                        <a:pt x="33" y="195"/>
                      </a:cubicBezTo>
                      <a:cubicBezTo>
                        <a:pt x="33" y="199"/>
                        <a:pt x="33" y="201"/>
                        <a:pt x="33" y="202"/>
                      </a:cubicBezTo>
                      <a:cubicBezTo>
                        <a:pt x="32" y="210"/>
                        <a:pt x="31" y="220"/>
                        <a:pt x="29" y="232"/>
                      </a:cubicBezTo>
                      <a:cubicBezTo>
                        <a:pt x="31" y="232"/>
                        <a:pt x="31" y="232"/>
                        <a:pt x="31" y="232"/>
                      </a:cubicBezTo>
                      <a:cubicBezTo>
                        <a:pt x="33" y="220"/>
                        <a:pt x="34" y="210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202"/>
                        <a:pt x="35" y="202"/>
                      </a:cubicBezTo>
                      <a:cubicBezTo>
                        <a:pt x="35" y="202"/>
                        <a:pt x="35" y="163"/>
                        <a:pt x="35" y="111"/>
                      </a:cubicBezTo>
                      <a:cubicBezTo>
                        <a:pt x="35" y="108"/>
                        <a:pt x="35" y="105"/>
                        <a:pt x="35" y="102"/>
                      </a:cubicBezTo>
                      <a:moveTo>
                        <a:pt x="35" y="0"/>
                      </a:moveTo>
                      <a:cubicBezTo>
                        <a:pt x="33" y="0"/>
                        <a:pt x="33" y="0"/>
                        <a:pt x="33" y="0"/>
                      </a:cubicBezTo>
                      <a:cubicBezTo>
                        <a:pt x="33" y="33"/>
                        <a:pt x="33" y="69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35" y="69"/>
                        <a:pt x="35" y="33"/>
                        <a:pt x="3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6" name="Freeform 66"/>
                <p:cNvSpPr>
                  <a:spLocks/>
                </p:cNvSpPr>
                <p:nvPr/>
              </p:nvSpPr>
              <p:spPr bwMode="auto">
                <a:xfrm>
                  <a:off x="-1880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7" name="Freeform 67"/>
                <p:cNvSpPr>
                  <a:spLocks noEditPoints="1"/>
                </p:cNvSpPr>
                <p:nvPr/>
              </p:nvSpPr>
              <p:spPr bwMode="auto">
                <a:xfrm>
                  <a:off x="-1935" y="1522"/>
                  <a:ext cx="100" cy="1832"/>
                </a:xfrm>
                <a:custGeom>
                  <a:avLst/>
                  <a:gdLst/>
                  <a:ahLst/>
                  <a:cxnLst>
                    <a:cxn ang="0">
                      <a:pos x="12" y="741"/>
                    </a:cxn>
                    <a:cxn ang="0">
                      <a:pos x="10" y="741"/>
                    </a:cxn>
                    <a:cxn ang="0">
                      <a:pos x="8" y="750"/>
                    </a:cxn>
                    <a:cxn ang="0">
                      <a:pos x="0" y="773"/>
                    </a:cxn>
                    <a:cxn ang="0">
                      <a:pos x="3" y="773"/>
                    </a:cxn>
                    <a:cxn ang="0">
                      <a:pos x="12" y="741"/>
                    </a:cxn>
                    <a:cxn ang="0">
                      <a:pos x="34" y="99"/>
                    </a:cxn>
                    <a:cxn ang="0">
                      <a:pos x="32" y="99"/>
                    </a:cxn>
                    <a:cxn ang="0">
                      <a:pos x="33" y="106"/>
                    </a:cxn>
                    <a:cxn ang="0">
                      <a:pos x="40" y="195"/>
                    </a:cxn>
                    <a:cxn ang="0">
                      <a:pos x="42" y="195"/>
                    </a:cxn>
                    <a:cxn ang="0">
                      <a:pos x="34" y="99"/>
                    </a:cxn>
                    <a:cxn ang="0">
                      <a:pos x="30" y="68"/>
                    </a:cxn>
                    <a:cxn ang="0">
                      <a:pos x="28" y="68"/>
                    </a:cxn>
                    <a:cxn ang="0">
                      <a:pos x="32" y="98"/>
                    </a:cxn>
                    <a:cxn ang="0">
                      <a:pos x="34" y="98"/>
                    </a:cxn>
                    <a:cxn ang="0">
                      <a:pos x="30" y="68"/>
                    </a:cxn>
                    <a:cxn ang="0">
                      <a:pos x="15" y="0"/>
                    </a:cxn>
                    <a:cxn ang="0">
                      <a:pos x="15" y="0"/>
                    </a:cxn>
                    <a:cxn ang="0">
                      <a:pos x="13" y="1"/>
                    </a:cxn>
                    <a:cxn ang="0">
                      <a:pos x="14" y="2"/>
                    </a:cxn>
                    <a:cxn ang="0">
                      <a:pos x="28" y="67"/>
                    </a:cxn>
                    <a:cxn ang="0">
                      <a:pos x="30" y="67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42" h="773">
                      <a:moveTo>
                        <a:pt x="12" y="741"/>
                      </a:moveTo>
                      <a:cubicBezTo>
                        <a:pt x="10" y="741"/>
                        <a:pt x="10" y="741"/>
                        <a:pt x="10" y="741"/>
                      </a:cubicBezTo>
                      <a:cubicBezTo>
                        <a:pt x="9" y="744"/>
                        <a:pt x="8" y="747"/>
                        <a:pt x="8" y="750"/>
                      </a:cubicBezTo>
                      <a:cubicBezTo>
                        <a:pt x="5" y="759"/>
                        <a:pt x="3" y="767"/>
                        <a:pt x="0" y="773"/>
                      </a:cubicBezTo>
                      <a:cubicBezTo>
                        <a:pt x="3" y="773"/>
                        <a:pt x="3" y="773"/>
                        <a:pt x="3" y="773"/>
                      </a:cubicBezTo>
                      <a:cubicBezTo>
                        <a:pt x="5" y="765"/>
                        <a:pt x="9" y="754"/>
                        <a:pt x="12" y="741"/>
                      </a:cubicBezTo>
                      <a:moveTo>
                        <a:pt x="34" y="99"/>
                      </a:moveTo>
                      <a:cubicBezTo>
                        <a:pt x="32" y="99"/>
                        <a:pt x="32" y="99"/>
                        <a:pt x="32" y="99"/>
                      </a:cubicBezTo>
                      <a:cubicBezTo>
                        <a:pt x="32" y="100"/>
                        <a:pt x="33" y="102"/>
                        <a:pt x="33" y="106"/>
                      </a:cubicBezTo>
                      <a:cubicBezTo>
                        <a:pt x="34" y="120"/>
                        <a:pt x="37" y="152"/>
                        <a:pt x="40" y="195"/>
                      </a:cubicBezTo>
                      <a:cubicBezTo>
                        <a:pt x="42" y="195"/>
                        <a:pt x="42" y="195"/>
                        <a:pt x="42" y="195"/>
                      </a:cubicBezTo>
                      <a:cubicBezTo>
                        <a:pt x="39" y="142"/>
                        <a:pt x="35" y="105"/>
                        <a:pt x="34" y="99"/>
                      </a:cubicBezTo>
                      <a:moveTo>
                        <a:pt x="30" y="68"/>
                      </a:moveTo>
                      <a:cubicBezTo>
                        <a:pt x="28" y="68"/>
                        <a:pt x="28" y="68"/>
                        <a:pt x="28" y="68"/>
                      </a:cubicBezTo>
                      <a:cubicBezTo>
                        <a:pt x="30" y="77"/>
                        <a:pt x="31" y="87"/>
                        <a:pt x="32" y="98"/>
                      </a:cubicBezTo>
                      <a:cubicBezTo>
                        <a:pt x="34" y="98"/>
                        <a:pt x="34" y="98"/>
                        <a:pt x="34" y="98"/>
                      </a:cubicBezTo>
                      <a:cubicBezTo>
                        <a:pt x="33" y="87"/>
                        <a:pt x="32" y="77"/>
                        <a:pt x="30" y="68"/>
                      </a:cubicBezTo>
                      <a:moveTo>
                        <a:pt x="15" y="0"/>
                      </a:moveTo>
                      <a:cubicBezTo>
                        <a:pt x="15" y="0"/>
                        <a:pt x="15" y="0"/>
                        <a:pt x="15" y="0"/>
                      </a:cubicBezTo>
                      <a:cubicBezTo>
                        <a:pt x="13" y="1"/>
                        <a:pt x="13" y="1"/>
                        <a:pt x="13" y="1"/>
                      </a:cubicBezTo>
                      <a:cubicBezTo>
                        <a:pt x="13" y="1"/>
                        <a:pt x="13" y="1"/>
                        <a:pt x="14" y="2"/>
                      </a:cubicBezTo>
                      <a:cubicBezTo>
                        <a:pt x="16" y="8"/>
                        <a:pt x="23" y="31"/>
                        <a:pt x="28" y="67"/>
                      </a:cubicBezTo>
                      <a:cubicBezTo>
                        <a:pt x="30" y="67"/>
                        <a:pt x="30" y="67"/>
                        <a:pt x="30" y="67"/>
                      </a:cubicBezTo>
                      <a:cubicBezTo>
                        <a:pt x="24" y="26"/>
                        <a:pt x="16" y="3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8" name="Freeform 68"/>
                <p:cNvSpPr>
                  <a:spLocks/>
                </p:cNvSpPr>
                <p:nvPr/>
              </p:nvSpPr>
              <p:spPr bwMode="auto">
                <a:xfrm>
                  <a:off x="-1859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199" name="Freeform 69"/>
                <p:cNvSpPr>
                  <a:spLocks/>
                </p:cNvSpPr>
                <p:nvPr/>
              </p:nvSpPr>
              <p:spPr bwMode="auto">
                <a:xfrm>
                  <a:off x="-1868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0" name="Freeform 70"/>
                <p:cNvSpPr>
                  <a:spLocks/>
                </p:cNvSpPr>
                <p:nvPr/>
              </p:nvSpPr>
              <p:spPr bwMode="auto">
                <a:xfrm>
                  <a:off x="-1842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1" name="Freeform 71"/>
                <p:cNvSpPr>
                  <a:spLocks/>
                </p:cNvSpPr>
                <p:nvPr/>
              </p:nvSpPr>
              <p:spPr bwMode="auto">
                <a:xfrm>
                  <a:off x="-1911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2" name="Freeform 72"/>
                <p:cNvSpPr>
                  <a:spLocks/>
                </p:cNvSpPr>
                <p:nvPr/>
              </p:nvSpPr>
              <p:spPr bwMode="auto">
                <a:xfrm>
                  <a:off x="-1946" y="3354"/>
                  <a:ext cx="16" cy="38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4" y="5"/>
                    </a:cxn>
                    <a:cxn ang="0">
                      <a:pos x="1" y="12"/>
                    </a:cxn>
                    <a:cxn ang="0">
                      <a:pos x="0" y="15"/>
                    </a:cxn>
                    <a:cxn ang="0">
                      <a:pos x="2" y="16"/>
                    </a:cxn>
                    <a:cxn ang="0">
                      <a:pos x="7" y="1"/>
                    </a:cxn>
                    <a:cxn ang="0">
                      <a:pos x="5" y="1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7" h="16">
                      <a:moveTo>
                        <a:pt x="5" y="0"/>
                      </a:moveTo>
                      <a:cubicBezTo>
                        <a:pt x="5" y="2"/>
                        <a:pt x="4" y="4"/>
                        <a:pt x="4" y="5"/>
                      </a:cubicBezTo>
                      <a:cubicBezTo>
                        <a:pt x="3" y="8"/>
                        <a:pt x="2" y="11"/>
                        <a:pt x="1" y="12"/>
                      </a:cubicBezTo>
                      <a:cubicBezTo>
                        <a:pt x="0" y="14"/>
                        <a:pt x="0" y="15"/>
                        <a:pt x="0" y="15"/>
                      </a:cubicBezTo>
                      <a:cubicBezTo>
                        <a:pt x="2" y="16"/>
                        <a:pt x="2" y="16"/>
                        <a:pt x="2" y="16"/>
                      </a:cubicBezTo>
                      <a:cubicBezTo>
                        <a:pt x="2" y="16"/>
                        <a:pt x="4" y="11"/>
                        <a:pt x="7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5" y="0"/>
                        <a:pt x="5" y="0"/>
                        <a:pt x="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3" name="Freeform 73"/>
                <p:cNvSpPr>
                  <a:spLocks/>
                </p:cNvSpPr>
                <p:nvPr/>
              </p:nvSpPr>
              <p:spPr bwMode="auto">
                <a:xfrm>
                  <a:off x="-1935" y="3354"/>
                  <a:ext cx="8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4" name="Freeform 74"/>
                <p:cNvSpPr>
                  <a:spLocks/>
                </p:cNvSpPr>
                <p:nvPr/>
              </p:nvSpPr>
              <p:spPr bwMode="auto">
                <a:xfrm>
                  <a:off x="-1833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5" name="Freeform 75"/>
                <p:cNvSpPr>
                  <a:spLocks/>
                </p:cNvSpPr>
                <p:nvPr/>
              </p:nvSpPr>
              <p:spPr bwMode="auto">
                <a:xfrm>
                  <a:off x="-1833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6" name="Freeform 76"/>
                <p:cNvSpPr>
                  <a:spLocks noEditPoints="1"/>
                </p:cNvSpPr>
                <p:nvPr/>
              </p:nvSpPr>
              <p:spPr bwMode="auto">
                <a:xfrm>
                  <a:off x="-1665" y="1683"/>
                  <a:ext cx="237" cy="865"/>
                </a:xfrm>
                <a:custGeom>
                  <a:avLst/>
                  <a:gdLst/>
                  <a:ahLst/>
                  <a:cxnLst>
                    <a:cxn ang="0">
                      <a:pos x="100" y="345"/>
                    </a:cxn>
                    <a:cxn ang="0">
                      <a:pos x="99" y="345"/>
                    </a:cxn>
                    <a:cxn ang="0">
                      <a:pos x="99" y="365"/>
                    </a:cxn>
                    <a:cxn ang="0">
                      <a:pos x="99" y="365"/>
                    </a:cxn>
                    <a:cxn ang="0">
                      <a:pos x="100" y="365"/>
                    </a:cxn>
                    <a:cxn ang="0">
                      <a:pos x="100" y="365"/>
                    </a:cxn>
                    <a:cxn ang="0">
                      <a:pos x="100" y="345"/>
                    </a:cxn>
                    <a:cxn ang="0">
                      <a:pos x="88" y="243"/>
                    </a:cxn>
                    <a:cxn ang="0">
                      <a:pos x="87" y="243"/>
                    </a:cxn>
                    <a:cxn ang="0">
                      <a:pos x="99" y="344"/>
                    </a:cxn>
                    <a:cxn ang="0">
                      <a:pos x="100" y="344"/>
                    </a:cxn>
                    <a:cxn ang="0">
                      <a:pos x="88" y="243"/>
                    </a:cxn>
                    <a:cxn ang="0">
                      <a:pos x="66" y="128"/>
                    </a:cxn>
                    <a:cxn ang="0">
                      <a:pos x="65" y="128"/>
                    </a:cxn>
                    <a:cxn ang="0">
                      <a:pos x="66" y="131"/>
                    </a:cxn>
                    <a:cxn ang="0">
                      <a:pos x="66" y="131"/>
                    </a:cxn>
                    <a:cxn ang="0">
                      <a:pos x="68" y="138"/>
                    </a:cxn>
                    <a:cxn ang="0">
                      <a:pos x="87" y="242"/>
                    </a:cxn>
                    <a:cxn ang="0">
                      <a:pos x="88" y="242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7" y="131"/>
                    </a:cxn>
                    <a:cxn ang="0">
                      <a:pos x="66" y="128"/>
                    </a:cxn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21" y="30"/>
                    </a:cxn>
                    <a:cxn ang="0">
                      <a:pos x="22" y="3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00" h="365">
                      <a:moveTo>
                        <a:pt x="100" y="345"/>
                      </a:moveTo>
                      <a:cubicBezTo>
                        <a:pt x="99" y="345"/>
                        <a:pt x="99" y="345"/>
                        <a:pt x="99" y="345"/>
                      </a:cubicBezTo>
                      <a:cubicBezTo>
                        <a:pt x="99" y="352"/>
                        <a:pt x="99" y="358"/>
                        <a:pt x="99" y="365"/>
                      </a:cubicBezTo>
                      <a:cubicBezTo>
                        <a:pt x="99" y="365"/>
                        <a:pt x="99" y="365"/>
                        <a:pt x="99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65"/>
                        <a:pt x="100" y="365"/>
                        <a:pt x="100" y="365"/>
                      </a:cubicBezTo>
                      <a:cubicBezTo>
                        <a:pt x="100" y="358"/>
                        <a:pt x="100" y="352"/>
                        <a:pt x="100" y="345"/>
                      </a:cubicBezTo>
                      <a:moveTo>
                        <a:pt x="88" y="243"/>
                      </a:moveTo>
                      <a:cubicBezTo>
                        <a:pt x="87" y="243"/>
                        <a:pt x="87" y="243"/>
                        <a:pt x="87" y="243"/>
                      </a:cubicBezTo>
                      <a:cubicBezTo>
                        <a:pt x="92" y="277"/>
                        <a:pt x="97" y="314"/>
                        <a:pt x="99" y="344"/>
                      </a:cubicBezTo>
                      <a:cubicBezTo>
                        <a:pt x="100" y="344"/>
                        <a:pt x="100" y="344"/>
                        <a:pt x="100" y="344"/>
                      </a:cubicBezTo>
                      <a:cubicBezTo>
                        <a:pt x="98" y="314"/>
                        <a:pt x="93" y="277"/>
                        <a:pt x="88" y="243"/>
                      </a:cubicBezTo>
                      <a:moveTo>
                        <a:pt x="66" y="128"/>
                      </a:moveTo>
                      <a:cubicBezTo>
                        <a:pt x="65" y="128"/>
                        <a:pt x="65" y="128"/>
                        <a:pt x="65" y="128"/>
                      </a:cubicBezTo>
                      <a:cubicBezTo>
                        <a:pt x="66" y="129"/>
                        <a:pt x="66" y="130"/>
                        <a:pt x="66" y="131"/>
                      </a:cubicBezTo>
                      <a:cubicBezTo>
                        <a:pt x="66" y="131"/>
                        <a:pt x="66" y="131"/>
                        <a:pt x="66" y="131"/>
                      </a:cubicBezTo>
                      <a:cubicBezTo>
                        <a:pt x="67" y="132"/>
                        <a:pt x="67" y="134"/>
                        <a:pt x="68" y="138"/>
                      </a:cubicBezTo>
                      <a:cubicBezTo>
                        <a:pt x="71" y="154"/>
                        <a:pt x="79" y="195"/>
                        <a:pt x="87" y="242"/>
                      </a:cubicBezTo>
                      <a:cubicBezTo>
                        <a:pt x="88" y="242"/>
                        <a:pt x="88" y="242"/>
                        <a:pt x="88" y="242"/>
                      </a:cubicBezTo>
                      <a:cubicBezTo>
                        <a:pt x="78" y="183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1"/>
                        <a:pt x="67" y="131"/>
                        <a:pt x="67" y="131"/>
                      </a:cubicBezTo>
                      <a:cubicBezTo>
                        <a:pt x="67" y="130"/>
                        <a:pt x="67" y="129"/>
                        <a:pt x="66" y="128"/>
                      </a:cubicBezTo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7" y="9"/>
                        <a:pt x="14" y="19"/>
                        <a:pt x="21" y="30"/>
                      </a:cubicBezTo>
                      <a:cubicBezTo>
                        <a:pt x="22" y="30"/>
                        <a:pt x="22" y="30"/>
                        <a:pt x="22" y="30"/>
                      </a:cubicBezTo>
                      <a:cubicBezTo>
                        <a:pt x="15" y="19"/>
                        <a:pt x="8" y="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7" name="Freeform 77"/>
                <p:cNvSpPr>
                  <a:spLocks/>
                </p:cNvSpPr>
                <p:nvPr/>
              </p:nvSpPr>
              <p:spPr bwMode="auto">
                <a:xfrm>
                  <a:off x="-1615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2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8" name="Freeform 78"/>
                <p:cNvSpPr>
                  <a:spLocks/>
                </p:cNvSpPr>
                <p:nvPr/>
              </p:nvSpPr>
              <p:spPr bwMode="auto">
                <a:xfrm>
                  <a:off x="-1667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09" name="Freeform 79"/>
                <p:cNvSpPr>
                  <a:spLocks/>
                </p:cNvSpPr>
                <p:nvPr/>
              </p:nvSpPr>
              <p:spPr bwMode="auto">
                <a:xfrm>
                  <a:off x="-1430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0" name="Freeform 80"/>
                <p:cNvSpPr>
                  <a:spLocks/>
                </p:cNvSpPr>
                <p:nvPr/>
              </p:nvSpPr>
              <p:spPr bwMode="auto">
                <a:xfrm>
                  <a:off x="-1459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1" name="Freeform 81"/>
                <p:cNvSpPr>
                  <a:spLocks/>
                </p:cNvSpPr>
                <p:nvPr/>
              </p:nvSpPr>
              <p:spPr bwMode="auto">
                <a:xfrm>
                  <a:off x="-1376" y="1986"/>
                  <a:ext cx="99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2" y="84"/>
                    </a:cxn>
                    <a:cxn ang="0">
                      <a:pos x="39" y="109"/>
                    </a:cxn>
                    <a:cxn ang="0">
                      <a:pos x="40" y="114"/>
                    </a:cxn>
                    <a:cxn ang="0">
                      <a:pos x="42" y="114"/>
                    </a:cxn>
                    <a:cxn ang="0">
                      <a:pos x="39" y="101"/>
                    </a:cxn>
                    <a:cxn ang="0">
                      <a:pos x="37" y="101"/>
                    </a:cxn>
                    <a:cxn ang="0">
                      <a:pos x="37" y="100"/>
                    </a:cxn>
                    <a:cxn ang="0">
                      <a:pos x="39" y="10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2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16" y="34"/>
                        <a:pt x="26" y="63"/>
                        <a:pt x="32" y="84"/>
                      </a:cubicBezTo>
                      <a:cubicBezTo>
                        <a:pt x="36" y="94"/>
                        <a:pt x="38" y="103"/>
                        <a:pt x="39" y="109"/>
                      </a:cubicBezTo>
                      <a:cubicBezTo>
                        <a:pt x="40" y="111"/>
                        <a:pt x="40" y="112"/>
                        <a:pt x="40" y="114"/>
                      </a:cubicBezTo>
                      <a:cubicBezTo>
                        <a:pt x="42" y="114"/>
                        <a:pt x="42" y="114"/>
                        <a:pt x="42" y="114"/>
                      </a:cubicBezTo>
                      <a:cubicBezTo>
                        <a:pt x="42" y="111"/>
                        <a:pt x="41" y="106"/>
                        <a:pt x="39" y="101"/>
                      </a:cubicBezTo>
                      <a:cubicBezTo>
                        <a:pt x="37" y="101"/>
                        <a:pt x="37" y="101"/>
                        <a:pt x="37" y="101"/>
                      </a:cubicBezTo>
                      <a:cubicBezTo>
                        <a:pt x="37" y="100"/>
                        <a:pt x="37" y="100"/>
                        <a:pt x="37" y="100"/>
                      </a:cubicBezTo>
                      <a:cubicBezTo>
                        <a:pt x="39" y="100"/>
                        <a:pt x="39" y="100"/>
                        <a:pt x="39" y="100"/>
                      </a:cubicBezTo>
                      <a:cubicBezTo>
                        <a:pt x="34" y="79"/>
                        <a:pt x="22" y="42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2" name="Freeform 82"/>
                <p:cNvSpPr>
                  <a:spLocks/>
                </p:cNvSpPr>
                <p:nvPr/>
              </p:nvSpPr>
              <p:spPr bwMode="auto">
                <a:xfrm>
                  <a:off x="-1288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3" name="Freeform 83"/>
                <p:cNvSpPr>
                  <a:spLocks noEditPoints="1"/>
                </p:cNvSpPr>
                <p:nvPr/>
              </p:nvSpPr>
              <p:spPr bwMode="auto">
                <a:xfrm>
                  <a:off x="-1281" y="2259"/>
                  <a:ext cx="232" cy="1017"/>
                </a:xfrm>
                <a:custGeom>
                  <a:avLst/>
                  <a:gdLst/>
                  <a:ahLst/>
                  <a:cxnLst>
                    <a:cxn ang="0">
                      <a:pos x="70" y="343"/>
                    </a:cxn>
                    <a:cxn ang="0">
                      <a:pos x="68" y="343"/>
                    </a:cxn>
                    <a:cxn ang="0">
                      <a:pos x="95" y="429"/>
                    </a:cxn>
                    <a:cxn ang="0">
                      <a:pos x="98" y="429"/>
                    </a:cxn>
                    <a:cxn ang="0">
                      <a:pos x="70" y="343"/>
                    </a:cxn>
                    <a:cxn ang="0">
                      <a:pos x="39" y="255"/>
                    </a:cxn>
                    <a:cxn ang="0">
                      <a:pos x="36" y="255"/>
                    </a:cxn>
                    <a:cxn ang="0">
                      <a:pos x="68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70" y="342"/>
                    </a:cxn>
                    <a:cxn ang="0">
                      <a:pos x="68" y="337"/>
                    </a:cxn>
                    <a:cxn ang="0">
                      <a:pos x="39" y="255"/>
                    </a:cxn>
                    <a:cxn ang="0">
                      <a:pos x="32" y="233"/>
                    </a:cxn>
                    <a:cxn ang="0">
                      <a:pos x="30" y="233"/>
                    </a:cxn>
                    <a:cxn ang="0">
                      <a:pos x="36" y="254"/>
                    </a:cxn>
                    <a:cxn ang="0">
                      <a:pos x="38" y="254"/>
                    </a:cxn>
                    <a:cxn ang="0">
                      <a:pos x="32" y="233"/>
                    </a:cxn>
                    <a:cxn ang="0">
                      <a:pos x="17" y="102"/>
                    </a:cxn>
                    <a:cxn ang="0">
                      <a:pos x="15" y="102"/>
                    </a:cxn>
                    <a:cxn ang="0">
                      <a:pos x="17" y="117"/>
                    </a:cxn>
                    <a:cxn ang="0">
                      <a:pos x="16" y="137"/>
                    </a:cxn>
                    <a:cxn ang="0">
                      <a:pos x="30" y="232"/>
                    </a:cxn>
                    <a:cxn ang="0">
                      <a:pos x="32" y="232"/>
                    </a:cxn>
                    <a:cxn ang="0">
                      <a:pos x="18" y="137"/>
                    </a:cxn>
                    <a:cxn ang="0">
                      <a:pos x="19" y="117"/>
                    </a:cxn>
                    <a:cxn ang="0">
                      <a:pos x="19" y="117"/>
                    </a:cxn>
                    <a:cxn ang="0">
                      <a:pos x="17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3"/>
                    </a:cxn>
                    <a:cxn ang="0">
                      <a:pos x="1" y="3"/>
                    </a:cxn>
                    <a:cxn ang="0">
                      <a:pos x="15" y="101"/>
                    </a:cxn>
                    <a:cxn ang="0">
                      <a:pos x="17" y="101"/>
                    </a:cxn>
                    <a:cxn ang="0">
                      <a:pos x="3" y="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8" h="429">
                      <a:moveTo>
                        <a:pt x="70" y="343"/>
                      </a:moveTo>
                      <a:cubicBezTo>
                        <a:pt x="68" y="343"/>
                        <a:pt x="68" y="343"/>
                        <a:pt x="68" y="343"/>
                      </a:cubicBezTo>
                      <a:cubicBezTo>
                        <a:pt x="73" y="375"/>
                        <a:pt x="85" y="405"/>
                        <a:pt x="95" y="429"/>
                      </a:cubicBezTo>
                      <a:cubicBezTo>
                        <a:pt x="98" y="429"/>
                        <a:pt x="98" y="429"/>
                        <a:pt x="98" y="429"/>
                      </a:cubicBezTo>
                      <a:cubicBezTo>
                        <a:pt x="87" y="405"/>
                        <a:pt x="75" y="375"/>
                        <a:pt x="70" y="343"/>
                      </a:cubicBezTo>
                      <a:moveTo>
                        <a:pt x="39" y="255"/>
                      </a:moveTo>
                      <a:cubicBezTo>
                        <a:pt x="36" y="255"/>
                        <a:pt x="36" y="255"/>
                        <a:pt x="36" y="255"/>
                      </a:cubicBezTo>
                      <a:cubicBezTo>
                        <a:pt x="50" y="301"/>
                        <a:pt x="66" y="337"/>
                        <a:pt x="68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70" y="342"/>
                        <a:pt x="70" y="342"/>
                      </a:cubicBezTo>
                      <a:cubicBezTo>
                        <a:pt x="70" y="342"/>
                        <a:pt x="69" y="340"/>
                        <a:pt x="68" y="337"/>
                      </a:cubicBezTo>
                      <a:cubicBezTo>
                        <a:pt x="63" y="325"/>
                        <a:pt x="50" y="293"/>
                        <a:pt x="39" y="255"/>
                      </a:cubicBezTo>
                      <a:moveTo>
                        <a:pt x="32" y="233"/>
                      </a:moveTo>
                      <a:cubicBezTo>
                        <a:pt x="30" y="233"/>
                        <a:pt x="30" y="233"/>
                        <a:pt x="30" y="233"/>
                      </a:cubicBezTo>
                      <a:cubicBezTo>
                        <a:pt x="32" y="240"/>
                        <a:pt x="34" y="247"/>
                        <a:pt x="36" y="254"/>
                      </a:cubicBezTo>
                      <a:cubicBezTo>
                        <a:pt x="38" y="254"/>
                        <a:pt x="38" y="254"/>
                        <a:pt x="38" y="254"/>
                      </a:cubicBezTo>
                      <a:cubicBezTo>
                        <a:pt x="36" y="247"/>
                        <a:pt x="34" y="240"/>
                        <a:pt x="32" y="233"/>
                      </a:cubicBezTo>
                      <a:moveTo>
                        <a:pt x="17" y="102"/>
                      </a:moveTo>
                      <a:cubicBezTo>
                        <a:pt x="15" y="102"/>
                        <a:pt x="15" y="102"/>
                        <a:pt x="15" y="102"/>
                      </a:cubicBezTo>
                      <a:cubicBezTo>
                        <a:pt x="17" y="117"/>
                        <a:pt x="17" y="117"/>
                        <a:pt x="17" y="117"/>
                      </a:cubicBezTo>
                      <a:cubicBezTo>
                        <a:pt x="16" y="123"/>
                        <a:pt x="16" y="130"/>
                        <a:pt x="16" y="137"/>
                      </a:cubicBezTo>
                      <a:cubicBezTo>
                        <a:pt x="16" y="167"/>
                        <a:pt x="22" y="201"/>
                        <a:pt x="30" y="232"/>
                      </a:cubicBezTo>
                      <a:cubicBezTo>
                        <a:pt x="32" y="232"/>
                        <a:pt x="32" y="232"/>
                        <a:pt x="32" y="232"/>
                      </a:cubicBezTo>
                      <a:cubicBezTo>
                        <a:pt x="24" y="201"/>
                        <a:pt x="18" y="167"/>
                        <a:pt x="18" y="137"/>
                      </a:cubicBezTo>
                      <a:cubicBezTo>
                        <a:pt x="18" y="130"/>
                        <a:pt x="18" y="123"/>
                        <a:pt x="19" y="117"/>
                      </a:cubicBezTo>
                      <a:cubicBezTo>
                        <a:pt x="19" y="117"/>
                        <a:pt x="19" y="117"/>
                        <a:pt x="19" y="117"/>
                      </a:cubicBezTo>
                      <a:cubicBezTo>
                        <a:pt x="17" y="102"/>
                        <a:pt x="17" y="102"/>
                        <a:pt x="17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2"/>
                        <a:pt x="1" y="3"/>
                        <a:pt x="1" y="3"/>
                      </a:cubicBezTo>
                      <a:cubicBezTo>
                        <a:pt x="1" y="3"/>
                        <a:pt x="1" y="3"/>
                        <a:pt x="1" y="3"/>
                      </a:cubicBezTo>
                      <a:cubicBezTo>
                        <a:pt x="15" y="101"/>
                        <a:pt x="15" y="101"/>
                        <a:pt x="15" y="101"/>
                      </a:cubicBezTo>
                      <a:cubicBezTo>
                        <a:pt x="17" y="101"/>
                        <a:pt x="17" y="101"/>
                        <a:pt x="17" y="101"/>
                      </a:cubicBezTo>
                      <a:cubicBezTo>
                        <a:pt x="3" y="3"/>
                        <a:pt x="3" y="3"/>
                        <a:pt x="3" y="3"/>
                      </a:cubicBezTo>
                      <a:cubicBezTo>
                        <a:pt x="3" y="3"/>
                        <a:pt x="3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4" name="Freeform 84"/>
                <p:cNvSpPr>
                  <a:spLocks/>
                </p:cNvSpPr>
                <p:nvPr/>
              </p:nvSpPr>
              <p:spPr bwMode="auto">
                <a:xfrm>
                  <a:off x="-112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5" name="Freeform 85"/>
                <p:cNvSpPr>
                  <a:spLocks/>
                </p:cNvSpPr>
                <p:nvPr/>
              </p:nvSpPr>
              <p:spPr bwMode="auto">
                <a:xfrm>
                  <a:off x="-1196" y="286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6" name="Freeform 86"/>
                <p:cNvSpPr>
                  <a:spLocks noEditPoints="1"/>
                </p:cNvSpPr>
                <p:nvPr/>
              </p:nvSpPr>
              <p:spPr bwMode="auto">
                <a:xfrm>
                  <a:off x="-1774" y="1524"/>
                  <a:ext cx="765" cy="1830"/>
                </a:xfrm>
                <a:custGeom>
                  <a:avLst/>
                  <a:gdLst/>
                  <a:ahLst/>
                  <a:cxnLst>
                    <a:cxn ang="0">
                      <a:pos x="306" y="740"/>
                    </a:cxn>
                    <a:cxn ang="0">
                      <a:pos x="304" y="740"/>
                    </a:cxn>
                    <a:cxn ang="0">
                      <a:pos x="321" y="772"/>
                    </a:cxn>
                    <a:cxn ang="0">
                      <a:pos x="323" y="772"/>
                    </a:cxn>
                    <a:cxn ang="0">
                      <a:pos x="306" y="740"/>
                    </a:cxn>
                    <a:cxn ang="0">
                      <a:pos x="111" y="98"/>
                    </a:cxn>
                    <a:cxn ang="0">
                      <a:pos x="108" y="98"/>
                    </a:cxn>
                    <a:cxn ang="0">
                      <a:pos x="167" y="194"/>
                    </a:cxn>
                    <a:cxn ang="0">
                      <a:pos x="170" y="194"/>
                    </a:cxn>
                    <a:cxn ang="0">
                      <a:pos x="111" y="98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07" y="97"/>
                    </a:cxn>
                    <a:cxn ang="0">
                      <a:pos x="110" y="9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84" y="6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23" h="772">
                      <a:moveTo>
                        <a:pt x="306" y="740"/>
                      </a:moveTo>
                      <a:cubicBezTo>
                        <a:pt x="304" y="740"/>
                        <a:pt x="304" y="740"/>
                        <a:pt x="304" y="740"/>
                      </a:cubicBezTo>
                      <a:cubicBezTo>
                        <a:pt x="310" y="753"/>
                        <a:pt x="316" y="765"/>
                        <a:pt x="321" y="772"/>
                      </a:cubicBezTo>
                      <a:cubicBezTo>
                        <a:pt x="323" y="772"/>
                        <a:pt x="323" y="772"/>
                        <a:pt x="323" y="772"/>
                      </a:cubicBezTo>
                      <a:cubicBezTo>
                        <a:pt x="319" y="765"/>
                        <a:pt x="312" y="754"/>
                        <a:pt x="306" y="740"/>
                      </a:cubicBezTo>
                      <a:moveTo>
                        <a:pt x="111" y="98"/>
                      </a:moveTo>
                      <a:cubicBezTo>
                        <a:pt x="108" y="98"/>
                        <a:pt x="108" y="98"/>
                        <a:pt x="108" y="98"/>
                      </a:cubicBezTo>
                      <a:cubicBezTo>
                        <a:pt x="133" y="130"/>
                        <a:pt x="153" y="163"/>
                        <a:pt x="167" y="194"/>
                      </a:cubicBezTo>
                      <a:cubicBezTo>
                        <a:pt x="170" y="194"/>
                        <a:pt x="170" y="194"/>
                        <a:pt x="170" y="194"/>
                      </a:cubicBezTo>
                      <a:cubicBezTo>
                        <a:pt x="155" y="163"/>
                        <a:pt x="136" y="130"/>
                        <a:pt x="111" y="98"/>
                      </a:cubicBezTo>
                      <a:moveTo>
                        <a:pt x="1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44" y="28"/>
                        <a:pt x="79" y="62"/>
                        <a:pt x="107" y="97"/>
                      </a:cubicBezTo>
                      <a:cubicBezTo>
                        <a:pt x="110" y="97"/>
                        <a:pt x="110" y="97"/>
                        <a:pt x="110" y="97"/>
                      </a:cubicBezTo>
                      <a:cubicBezTo>
                        <a:pt x="102" y="87"/>
                        <a:pt x="93" y="7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84" y="67"/>
                        <a:pt x="84" y="67"/>
                        <a:pt x="84" y="67"/>
                      </a:cubicBezTo>
                      <a:cubicBezTo>
                        <a:pt x="61" y="42"/>
                        <a:pt x="33" y="19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7" name="Freeform 87"/>
                <p:cNvSpPr>
                  <a:spLocks/>
                </p:cNvSpPr>
                <p:nvPr/>
              </p:nvSpPr>
              <p:spPr bwMode="auto">
                <a:xfrm>
                  <a:off x="-1520" y="1754"/>
                  <a:ext cx="9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8" name="Rectangle 88"/>
                <p:cNvSpPr>
                  <a:spLocks noChangeArrowheads="1"/>
                </p:cNvSpPr>
                <p:nvPr/>
              </p:nvSpPr>
              <p:spPr bwMode="auto">
                <a:xfrm>
                  <a:off x="-1575" y="1683"/>
                  <a:ext cx="1" cy="1"/>
                </a:xfrm>
                <a:prstGeom prst="rect">
                  <a:avLst/>
                </a:prstGeom>
                <a:solidFill>
                  <a:srgbClr val="FFFFFF"/>
                </a:solidFill>
                <a:ln w="9525">
                  <a:noFill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19" name="Freeform 89"/>
                <p:cNvSpPr>
                  <a:spLocks/>
                </p:cNvSpPr>
                <p:nvPr/>
              </p:nvSpPr>
              <p:spPr bwMode="auto">
                <a:xfrm>
                  <a:off x="-1575" y="1683"/>
                  <a:ext cx="1" cy="1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>
                      <a:moveTo>
                        <a:pt x="0" y="0"/>
                      </a:moveTo>
                      <a:lnTo>
                        <a:pt x="0" y="0"/>
                      </a:lnTo>
                      <a:lnTo>
                        <a:pt x="0" y="0"/>
                      </a:lnTo>
                      <a:lnTo>
                        <a:pt x="0" y="0"/>
                      </a:lnTo>
                    </a:path>
                  </a:pathLst>
                </a:cu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0" name="Freeform 90"/>
                <p:cNvSpPr>
                  <a:spLocks/>
                </p:cNvSpPr>
                <p:nvPr/>
              </p:nvSpPr>
              <p:spPr bwMode="auto">
                <a:xfrm>
                  <a:off x="-1210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1" name="Freeform 91"/>
                <p:cNvSpPr>
                  <a:spLocks/>
                </p:cNvSpPr>
                <p:nvPr/>
              </p:nvSpPr>
              <p:spPr bwMode="auto">
                <a:xfrm>
                  <a:off x="-1056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2" name="Freeform 92"/>
                <p:cNvSpPr>
                  <a:spLocks/>
                </p:cNvSpPr>
                <p:nvPr/>
              </p:nvSpPr>
              <p:spPr bwMode="auto">
                <a:xfrm>
                  <a:off x="-1014" y="3356"/>
                  <a:ext cx="21" cy="31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8" y="13"/>
                    </a:cxn>
                    <a:cxn ang="0">
                      <a:pos x="9" y="12"/>
                    </a:cxn>
                    <a:cxn ang="0">
                      <a:pos x="8" y="9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" h="13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5" y="8"/>
                        <a:pt x="8" y="13"/>
                        <a:pt x="8" y="13"/>
                      </a:cubicBezTo>
                      <a:cubicBezTo>
                        <a:pt x="9" y="12"/>
                        <a:pt x="9" y="12"/>
                        <a:pt x="9" y="12"/>
                      </a:cubicBezTo>
                      <a:cubicBezTo>
                        <a:pt x="9" y="12"/>
                        <a:pt x="9" y="11"/>
                        <a:pt x="8" y="9"/>
                      </a:cubicBezTo>
                      <a:cubicBezTo>
                        <a:pt x="6" y="7"/>
                        <a:pt x="5" y="4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3" name="Freeform 93"/>
                <p:cNvSpPr>
                  <a:spLocks/>
                </p:cNvSpPr>
                <p:nvPr/>
              </p:nvSpPr>
              <p:spPr bwMode="auto">
                <a:xfrm>
                  <a:off x="-1014" y="33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4" name="Freeform 94"/>
                <p:cNvSpPr>
                  <a:spLocks/>
                </p:cNvSpPr>
                <p:nvPr/>
              </p:nvSpPr>
              <p:spPr bwMode="auto">
                <a:xfrm>
                  <a:off x="-124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5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5" y="3"/>
                    </a:cxn>
                    <a:cxn ang="0">
                      <a:pos x="5" y="0"/>
                    </a:cxn>
                    <a:cxn ang="0">
                      <a:pos x="5" y="0"/>
                    </a:cxn>
                  </a:cxnLst>
                  <a:rect l="0" t="0" r="r" b="b"/>
                  <a:pathLst>
                    <a:path w="5" h="3">
                      <a:moveTo>
                        <a:pt x="5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5" y="3"/>
                      </a:lnTo>
                      <a:lnTo>
                        <a:pt x="5" y="0"/>
                      </a:lnTo>
                      <a:lnTo>
                        <a:pt x="5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5" name="Freeform 95"/>
                <p:cNvSpPr>
                  <a:spLocks/>
                </p:cNvSpPr>
                <p:nvPr/>
              </p:nvSpPr>
              <p:spPr bwMode="auto">
                <a:xfrm>
                  <a:off x="-1281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6" name="Freeform 96"/>
                <p:cNvSpPr>
                  <a:spLocks noEditPoints="1"/>
                </p:cNvSpPr>
                <p:nvPr/>
              </p:nvSpPr>
              <p:spPr bwMode="auto">
                <a:xfrm>
                  <a:off x="-1636" y="1524"/>
                  <a:ext cx="819" cy="458"/>
                </a:xfrm>
                <a:custGeom>
                  <a:avLst/>
                  <a:gdLst/>
                  <a:ahLst/>
                  <a:cxnLst>
                    <a:cxn ang="0">
                      <a:pos x="243" y="98"/>
                    </a:cxn>
                    <a:cxn ang="0">
                      <a:pos x="241" y="98"/>
                    </a:cxn>
                    <a:cxn ang="0">
                      <a:pos x="345" y="193"/>
                    </a:cxn>
                    <a:cxn ang="0">
                      <a:pos x="346" y="193"/>
                    </a:cxn>
                    <a:cxn ang="0">
                      <a:pos x="243" y="98"/>
                    </a:cxn>
                    <a:cxn ang="0">
                      <a:pos x="186" y="67"/>
                    </a:cxn>
                    <a:cxn ang="0">
                      <a:pos x="184" y="67"/>
                    </a:cxn>
                    <a:cxn ang="0">
                      <a:pos x="239" y="97"/>
                    </a:cxn>
                    <a:cxn ang="0">
                      <a:pos x="241" y="97"/>
                    </a:cxn>
                    <a:cxn ang="0">
                      <a:pos x="186" y="67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1" y="4"/>
                    </a:cxn>
                    <a:cxn ang="0">
                      <a:pos x="182" y="66"/>
                    </a:cxn>
                    <a:cxn ang="0">
                      <a:pos x="185" y="6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346" h="193">
                      <a:moveTo>
                        <a:pt x="243" y="98"/>
                      </a:moveTo>
                      <a:cubicBezTo>
                        <a:pt x="241" y="98"/>
                        <a:pt x="241" y="98"/>
                        <a:pt x="241" y="98"/>
                      </a:cubicBezTo>
                      <a:cubicBezTo>
                        <a:pt x="283" y="124"/>
                        <a:pt x="322" y="156"/>
                        <a:pt x="345" y="193"/>
                      </a:cubicBezTo>
                      <a:cubicBezTo>
                        <a:pt x="346" y="193"/>
                        <a:pt x="346" y="193"/>
                        <a:pt x="346" y="193"/>
                      </a:cubicBezTo>
                      <a:cubicBezTo>
                        <a:pt x="323" y="156"/>
                        <a:pt x="285" y="124"/>
                        <a:pt x="243" y="98"/>
                      </a:cubicBezTo>
                      <a:moveTo>
                        <a:pt x="186" y="67"/>
                      </a:moveTo>
                      <a:cubicBezTo>
                        <a:pt x="184" y="67"/>
                        <a:pt x="184" y="67"/>
                        <a:pt x="184" y="67"/>
                      </a:cubicBezTo>
                      <a:cubicBezTo>
                        <a:pt x="203" y="76"/>
                        <a:pt x="221" y="86"/>
                        <a:pt x="239" y="97"/>
                      </a:cubicBezTo>
                      <a:cubicBezTo>
                        <a:pt x="241" y="97"/>
                        <a:pt x="241" y="97"/>
                        <a:pt x="241" y="97"/>
                      </a:cubicBezTo>
                      <a:cubicBezTo>
                        <a:pt x="223" y="86"/>
                        <a:pt x="205" y="76"/>
                        <a:pt x="186" y="67"/>
                      </a:cubicBezTo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4" y="2"/>
                        <a:pt x="11" y="4"/>
                      </a:cubicBezTo>
                      <a:cubicBezTo>
                        <a:pt x="38" y="11"/>
                        <a:pt x="110" y="32"/>
                        <a:pt x="182" y="66"/>
                      </a:cubicBezTo>
                      <a:cubicBezTo>
                        <a:pt x="185" y="66"/>
                        <a:pt x="185" y="66"/>
                        <a:pt x="185" y="66"/>
                      </a:cubicBezTo>
                      <a:cubicBezTo>
                        <a:pt x="92" y="22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7" name="Freeform 97"/>
                <p:cNvSpPr>
                  <a:spLocks/>
                </p:cNvSpPr>
                <p:nvPr/>
              </p:nvSpPr>
              <p:spPr bwMode="auto">
                <a:xfrm>
                  <a:off x="-1071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4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1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8" name="Freeform 98"/>
                <p:cNvSpPr>
                  <a:spLocks/>
                </p:cNvSpPr>
                <p:nvPr/>
              </p:nvSpPr>
              <p:spPr bwMode="auto">
                <a:xfrm>
                  <a:off x="-1206" y="1681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2" y="1"/>
                        <a:pt x="2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4" y="1"/>
                        <a:pt x="3" y="1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29" name="Freeform 99"/>
                <p:cNvSpPr>
                  <a:spLocks/>
                </p:cNvSpPr>
                <p:nvPr/>
              </p:nvSpPr>
              <p:spPr bwMode="auto">
                <a:xfrm>
                  <a:off x="-955" y="1986"/>
                  <a:ext cx="216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  <a:cxn ang="0">
                      <a:pos x="2" y="1"/>
                    </a:cxn>
                    <a:cxn ang="0">
                      <a:pos x="82" y="100"/>
                    </a:cxn>
                    <a:cxn ang="0">
                      <a:pos x="83" y="100"/>
                    </a:cxn>
                    <a:cxn ang="0">
                      <a:pos x="83" y="101"/>
                    </a:cxn>
                    <a:cxn ang="0">
                      <a:pos x="83" y="101"/>
                    </a:cxn>
                    <a:cxn ang="0">
                      <a:pos x="89" y="114"/>
                    </a:cxn>
                    <a:cxn ang="0">
                      <a:pos x="91" y="114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91" h="114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2" y="1"/>
                      </a:cubicBezTo>
                      <a:cubicBezTo>
                        <a:pt x="9" y="6"/>
                        <a:pt x="49" y="37"/>
                        <a:pt x="82" y="100"/>
                      </a:cubicBezTo>
                      <a:cubicBezTo>
                        <a:pt x="83" y="100"/>
                        <a:pt x="83" y="100"/>
                        <a:pt x="83" y="100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3" y="101"/>
                        <a:pt x="83" y="101"/>
                        <a:pt x="83" y="101"/>
                      </a:cubicBezTo>
                      <a:cubicBezTo>
                        <a:pt x="85" y="105"/>
                        <a:pt x="87" y="109"/>
                        <a:pt x="89" y="114"/>
                      </a:cubicBezTo>
                      <a:cubicBezTo>
                        <a:pt x="91" y="114"/>
                        <a:pt x="91" y="114"/>
                        <a:pt x="91" y="114"/>
                      </a:cubicBezTo>
                      <a:cubicBezTo>
                        <a:pt x="57" y="42"/>
                        <a:pt x="12" y="6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0" name="Freeform 100"/>
                <p:cNvSpPr>
                  <a:spLocks/>
                </p:cNvSpPr>
                <p:nvPr/>
              </p:nvSpPr>
              <p:spPr bwMode="auto">
                <a:xfrm>
                  <a:off x="-76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1" name="Freeform 101"/>
                <p:cNvSpPr>
                  <a:spLocks noEditPoints="1"/>
                </p:cNvSpPr>
                <p:nvPr/>
              </p:nvSpPr>
              <p:spPr bwMode="auto">
                <a:xfrm>
                  <a:off x="-742" y="2259"/>
                  <a:ext cx="90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24" y="352"/>
                    </a:cxn>
                    <a:cxn ang="0">
                      <a:pos x="20" y="417"/>
                    </a:cxn>
                    <a:cxn ang="0">
                      <a:pos x="19" y="429"/>
                    </a:cxn>
                    <a:cxn ang="0">
                      <a:pos x="21" y="429"/>
                    </a:cxn>
                    <a:cxn ang="0">
                      <a:pos x="24" y="393"/>
                    </a:cxn>
                    <a:cxn ang="0">
                      <a:pos x="26" y="343"/>
                    </a:cxn>
                    <a:cxn ang="0">
                      <a:pos x="38" y="233"/>
                    </a:cxn>
                    <a:cxn ang="0">
                      <a:pos x="36" y="233"/>
                    </a:cxn>
                    <a:cxn ang="0">
                      <a:pos x="24" y="334"/>
                    </a:cxn>
                    <a:cxn ang="0">
                      <a:pos x="24" y="335"/>
                    </a:cxn>
                    <a:cxn ang="0">
                      <a:pos x="24" y="335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6" y="335"/>
                    </a:cxn>
                    <a:cxn ang="0">
                      <a:pos x="37" y="255"/>
                    </a:cxn>
                    <a:cxn ang="0">
                      <a:pos x="35" y="255"/>
                    </a:cxn>
                    <a:cxn ang="0">
                      <a:pos x="35" y="254"/>
                    </a:cxn>
                    <a:cxn ang="0">
                      <a:pos x="37" y="254"/>
                    </a:cxn>
                    <a:cxn ang="0">
                      <a:pos x="38" y="233"/>
                    </a:cxn>
                    <a:cxn ang="0">
                      <a:pos x="35" y="102"/>
                    </a:cxn>
                    <a:cxn ang="0">
                      <a:pos x="33" y="102"/>
                    </a:cxn>
                    <a:cxn ang="0">
                      <a:pos x="35" y="115"/>
                    </a:cxn>
                    <a:cxn ang="0">
                      <a:pos x="35" y="115"/>
                    </a:cxn>
                    <a:cxn ang="0">
                      <a:pos x="35" y="120"/>
                    </a:cxn>
                    <a:cxn ang="0">
                      <a:pos x="37" y="187"/>
                    </a:cxn>
                    <a:cxn ang="0">
                      <a:pos x="36" y="232"/>
                    </a:cxn>
                    <a:cxn ang="0">
                      <a:pos x="38" y="232"/>
                    </a:cxn>
                    <a:cxn ang="0">
                      <a:pos x="38" y="224"/>
                    </a:cxn>
                    <a:cxn ang="0">
                      <a:pos x="38" y="149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7" y="115"/>
                    </a:cxn>
                    <a:cxn ang="0">
                      <a:pos x="35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33" y="101"/>
                    </a:cxn>
                    <a:cxn ang="0">
                      <a:pos x="35" y="10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8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4" y="345"/>
                        <a:pt x="24" y="348"/>
                        <a:pt x="24" y="352"/>
                      </a:cubicBezTo>
                      <a:cubicBezTo>
                        <a:pt x="24" y="368"/>
                        <a:pt x="23" y="392"/>
                        <a:pt x="20" y="417"/>
                      </a:cubicBezTo>
                      <a:cubicBezTo>
                        <a:pt x="20" y="421"/>
                        <a:pt x="20" y="425"/>
                        <a:pt x="19" y="429"/>
                      </a:cubicBezTo>
                      <a:cubicBezTo>
                        <a:pt x="21" y="429"/>
                        <a:pt x="21" y="429"/>
                        <a:pt x="21" y="429"/>
                      </a:cubicBezTo>
                      <a:cubicBezTo>
                        <a:pt x="22" y="417"/>
                        <a:pt x="23" y="405"/>
                        <a:pt x="24" y="393"/>
                      </a:cubicBezTo>
                      <a:cubicBezTo>
                        <a:pt x="26" y="372"/>
                        <a:pt x="26" y="353"/>
                        <a:pt x="26" y="343"/>
                      </a:cubicBezTo>
                      <a:moveTo>
                        <a:pt x="38" y="233"/>
                      </a:moveTo>
                      <a:cubicBezTo>
                        <a:pt x="36" y="233"/>
                        <a:pt x="36" y="233"/>
                        <a:pt x="36" y="233"/>
                      </a:cubicBezTo>
                      <a:cubicBezTo>
                        <a:pt x="35" y="268"/>
                        <a:pt x="31" y="304"/>
                        <a:pt x="24" y="334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5"/>
                        <a:pt x="24" y="335"/>
                      </a:cubicBezTo>
                      <a:cubicBezTo>
                        <a:pt x="24" y="335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6" y="338"/>
                        <a:pt x="26" y="335"/>
                        <a:pt x="26" y="335"/>
                      </a:cubicBezTo>
                      <a:cubicBezTo>
                        <a:pt x="32" y="311"/>
                        <a:pt x="35" y="283"/>
                        <a:pt x="37" y="255"/>
                      </a:cubicBezTo>
                      <a:cubicBezTo>
                        <a:pt x="35" y="255"/>
                        <a:pt x="35" y="255"/>
                        <a:pt x="35" y="255"/>
                      </a:cubicBezTo>
                      <a:cubicBezTo>
                        <a:pt x="35" y="254"/>
                        <a:pt x="35" y="254"/>
                        <a:pt x="35" y="254"/>
                      </a:cubicBezTo>
                      <a:cubicBezTo>
                        <a:pt x="37" y="254"/>
                        <a:pt x="37" y="254"/>
                        <a:pt x="37" y="254"/>
                      </a:cubicBezTo>
                      <a:cubicBezTo>
                        <a:pt x="37" y="247"/>
                        <a:pt x="38" y="240"/>
                        <a:pt x="38" y="233"/>
                      </a:cubicBezTo>
                      <a:moveTo>
                        <a:pt x="35" y="102"/>
                      </a:moveTo>
                      <a:cubicBezTo>
                        <a:pt x="33" y="102"/>
                        <a:pt x="33" y="102"/>
                        <a:pt x="33" y="102"/>
                      </a:cubicBezTo>
                      <a:cubicBezTo>
                        <a:pt x="34" y="106"/>
                        <a:pt x="34" y="111"/>
                        <a:pt x="35" y="115"/>
                      </a:cubicBezTo>
                      <a:cubicBezTo>
                        <a:pt x="35" y="115"/>
                        <a:pt x="35" y="115"/>
                        <a:pt x="35" y="115"/>
                      </a:cubicBezTo>
                      <a:cubicBezTo>
                        <a:pt x="35" y="115"/>
                        <a:pt x="35" y="117"/>
                        <a:pt x="35" y="120"/>
                      </a:cubicBezTo>
                      <a:cubicBezTo>
                        <a:pt x="36" y="131"/>
                        <a:pt x="37" y="156"/>
                        <a:pt x="37" y="187"/>
                      </a:cubicBezTo>
                      <a:cubicBezTo>
                        <a:pt x="37" y="201"/>
                        <a:pt x="37" y="216"/>
                        <a:pt x="36" y="232"/>
                      </a:cubicBezTo>
                      <a:cubicBezTo>
                        <a:pt x="38" y="232"/>
                        <a:pt x="38" y="232"/>
                        <a:pt x="38" y="232"/>
                      </a:cubicBezTo>
                      <a:cubicBezTo>
                        <a:pt x="38" y="229"/>
                        <a:pt x="38" y="226"/>
                        <a:pt x="38" y="224"/>
                      </a:cubicBezTo>
                      <a:cubicBezTo>
                        <a:pt x="38" y="149"/>
                        <a:pt x="38" y="149"/>
                        <a:pt x="38" y="149"/>
                      </a:cubicBezTo>
                      <a:cubicBezTo>
                        <a:pt x="38" y="128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6" y="110"/>
                        <a:pt x="36" y="106"/>
                        <a:pt x="35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3" y="28"/>
                        <a:pt x="25" y="61"/>
                        <a:pt x="33" y="101"/>
                      </a:cubicBezTo>
                      <a:cubicBezTo>
                        <a:pt x="35" y="101"/>
                        <a:pt x="35" y="101"/>
                        <a:pt x="35" y="101"/>
                      </a:cubicBezTo>
                      <a:cubicBezTo>
                        <a:pt x="27" y="61"/>
                        <a:pt x="15" y="2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2" name="Freeform 102"/>
                <p:cNvSpPr>
                  <a:spLocks/>
                </p:cNvSpPr>
                <p:nvPr/>
              </p:nvSpPr>
              <p:spPr bwMode="auto">
                <a:xfrm>
                  <a:off x="-68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3" name="Freeform 103"/>
                <p:cNvSpPr>
                  <a:spLocks/>
                </p:cNvSpPr>
                <p:nvPr/>
              </p:nvSpPr>
              <p:spPr bwMode="auto">
                <a:xfrm>
                  <a:off x="-659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4" name="Freeform 104"/>
                <p:cNvSpPr>
                  <a:spLocks noEditPoints="1"/>
                </p:cNvSpPr>
                <p:nvPr/>
              </p:nvSpPr>
              <p:spPr bwMode="auto">
                <a:xfrm>
                  <a:off x="-1681" y="1524"/>
                  <a:ext cx="989" cy="1875"/>
                </a:xfrm>
                <a:custGeom>
                  <a:avLst/>
                  <a:gdLst/>
                  <a:ahLst/>
                  <a:cxnLst>
                    <a:cxn ang="0">
                      <a:pos x="418" y="740"/>
                    </a:cxn>
                    <a:cxn ang="0">
                      <a:pos x="416" y="740"/>
                    </a:cxn>
                    <a:cxn ang="0">
                      <a:pos x="411" y="772"/>
                    </a:cxn>
                    <a:cxn ang="0">
                      <a:pos x="411" y="772"/>
                    </a:cxn>
                    <a:cxn ang="0">
                      <a:pos x="411" y="773"/>
                    </a:cxn>
                    <a:cxn ang="0">
                      <a:pos x="410" y="773"/>
                    </a:cxn>
                    <a:cxn ang="0">
                      <a:pos x="406" y="790"/>
                    </a:cxn>
                    <a:cxn ang="0">
                      <a:pos x="407" y="791"/>
                    </a:cxn>
                    <a:cxn ang="0">
                      <a:pos x="418" y="740"/>
                    </a:cxn>
                    <a:cxn ang="0">
                      <a:pos x="215" y="98"/>
                    </a:cxn>
                    <a:cxn ang="0">
                      <a:pos x="211" y="98"/>
                    </a:cxn>
                    <a:cxn ang="0">
                      <a:pos x="307" y="194"/>
                    </a:cxn>
                    <a:cxn ang="0">
                      <a:pos x="309" y="194"/>
                    </a:cxn>
                    <a:cxn ang="0">
                      <a:pos x="309" y="194"/>
                    </a:cxn>
                    <a:cxn ang="0">
                      <a:pos x="215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9" y="4"/>
                    </a:cxn>
                    <a:cxn ang="0">
                      <a:pos x="162" y="66"/>
                    </a:cxn>
                    <a:cxn ang="0">
                      <a:pos x="165" y="66"/>
                    </a:cxn>
                    <a:cxn ang="0">
                      <a:pos x="165" y="67"/>
                    </a:cxn>
                    <a:cxn ang="0">
                      <a:pos x="163" y="67"/>
                    </a:cxn>
                    <a:cxn ang="0">
                      <a:pos x="210" y="97"/>
                    </a:cxn>
                    <a:cxn ang="0">
                      <a:pos x="213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418" h="791">
                      <a:moveTo>
                        <a:pt x="418" y="740"/>
                      </a:moveTo>
                      <a:cubicBezTo>
                        <a:pt x="416" y="740"/>
                        <a:pt x="416" y="740"/>
                        <a:pt x="416" y="740"/>
                      </a:cubicBezTo>
                      <a:cubicBezTo>
                        <a:pt x="415" y="752"/>
                        <a:pt x="413" y="763"/>
                        <a:pt x="411" y="772"/>
                      </a:cubicBezTo>
                      <a:cubicBezTo>
                        <a:pt x="411" y="772"/>
                        <a:pt x="411" y="772"/>
                        <a:pt x="411" y="772"/>
                      </a:cubicBezTo>
                      <a:cubicBezTo>
                        <a:pt x="411" y="773"/>
                        <a:pt x="411" y="773"/>
                        <a:pt x="411" y="773"/>
                      </a:cubicBezTo>
                      <a:cubicBezTo>
                        <a:pt x="410" y="773"/>
                        <a:pt x="410" y="773"/>
                        <a:pt x="410" y="773"/>
                      </a:cubicBezTo>
                      <a:cubicBezTo>
                        <a:pt x="409" y="780"/>
                        <a:pt x="407" y="786"/>
                        <a:pt x="406" y="790"/>
                      </a:cubicBezTo>
                      <a:cubicBezTo>
                        <a:pt x="407" y="791"/>
                        <a:pt x="407" y="791"/>
                        <a:pt x="407" y="791"/>
                      </a:cubicBezTo>
                      <a:cubicBezTo>
                        <a:pt x="412" y="779"/>
                        <a:pt x="416" y="760"/>
                        <a:pt x="418" y="740"/>
                      </a:cubicBezTo>
                      <a:moveTo>
                        <a:pt x="215" y="98"/>
                      </a:moveTo>
                      <a:cubicBezTo>
                        <a:pt x="211" y="98"/>
                        <a:pt x="211" y="98"/>
                        <a:pt x="211" y="98"/>
                      </a:cubicBezTo>
                      <a:cubicBezTo>
                        <a:pt x="247" y="124"/>
                        <a:pt x="281" y="155"/>
                        <a:pt x="307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309" y="194"/>
                        <a:pt x="309" y="194"/>
                        <a:pt x="309" y="194"/>
                      </a:cubicBezTo>
                      <a:cubicBezTo>
                        <a:pt x="283" y="155"/>
                        <a:pt x="250" y="124"/>
                        <a:pt x="215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0" y="2"/>
                        <a:pt x="3" y="3"/>
                        <a:pt x="9" y="4"/>
                      </a:cubicBezTo>
                      <a:cubicBezTo>
                        <a:pt x="32" y="10"/>
                        <a:pt x="96" y="29"/>
                        <a:pt x="162" y="66"/>
                      </a:cubicBezTo>
                      <a:cubicBezTo>
                        <a:pt x="165" y="66"/>
                        <a:pt x="165" y="66"/>
                        <a:pt x="165" y="66"/>
                      </a:cubicBezTo>
                      <a:cubicBezTo>
                        <a:pt x="165" y="67"/>
                        <a:pt x="165" y="67"/>
                        <a:pt x="165" y="67"/>
                      </a:cubicBezTo>
                      <a:cubicBezTo>
                        <a:pt x="163" y="67"/>
                        <a:pt x="163" y="67"/>
                        <a:pt x="163" y="67"/>
                      </a:cubicBezTo>
                      <a:cubicBezTo>
                        <a:pt x="179" y="76"/>
                        <a:pt x="195" y="86"/>
                        <a:pt x="210" y="97"/>
                      </a:cubicBezTo>
                      <a:cubicBezTo>
                        <a:pt x="213" y="97"/>
                        <a:pt x="213" y="97"/>
                        <a:pt x="213" y="97"/>
                      </a:cubicBezTo>
                      <a:cubicBezTo>
                        <a:pt x="114" y="25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5" name="Freeform 105"/>
                <p:cNvSpPr>
                  <a:spLocks/>
                </p:cNvSpPr>
                <p:nvPr/>
              </p:nvSpPr>
              <p:spPr bwMode="auto">
                <a:xfrm>
                  <a:off x="-1184" y="1754"/>
                  <a:ext cx="12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5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5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1"/>
                        <a:pt x="1" y="1"/>
                      </a:cubicBezTo>
                      <a:cubicBezTo>
                        <a:pt x="5" y="1"/>
                        <a:pt x="5" y="1"/>
                        <a:pt x="5" y="1"/>
                      </a:cubicBezTo>
                      <a:cubicBezTo>
                        <a:pt x="4" y="1"/>
                        <a:pt x="4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6" name="Freeform 106"/>
                <p:cNvSpPr>
                  <a:spLocks/>
                </p:cNvSpPr>
                <p:nvPr/>
              </p:nvSpPr>
              <p:spPr bwMode="auto">
                <a:xfrm>
                  <a:off x="-1298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1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7" name="Freeform 107"/>
                <p:cNvSpPr>
                  <a:spLocks/>
                </p:cNvSpPr>
                <p:nvPr/>
              </p:nvSpPr>
              <p:spPr bwMode="auto">
                <a:xfrm>
                  <a:off x="-656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8" name="Freeform 108"/>
                <p:cNvSpPr>
                  <a:spLocks/>
                </p:cNvSpPr>
                <p:nvPr/>
              </p:nvSpPr>
              <p:spPr bwMode="auto">
                <a:xfrm>
                  <a:off x="-697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39" name="Freeform 109"/>
                <p:cNvSpPr>
                  <a:spLocks/>
                </p:cNvSpPr>
                <p:nvPr/>
              </p:nvSpPr>
              <p:spPr bwMode="auto">
                <a:xfrm>
                  <a:off x="-711" y="3354"/>
                  <a:ext cx="3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0" name="Freeform 110"/>
                <p:cNvSpPr>
                  <a:spLocks/>
                </p:cNvSpPr>
                <p:nvPr/>
              </p:nvSpPr>
              <p:spPr bwMode="auto">
                <a:xfrm>
                  <a:off x="-664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1" name="Freeform 111"/>
                <p:cNvSpPr>
                  <a:spLocks/>
                </p:cNvSpPr>
                <p:nvPr/>
              </p:nvSpPr>
              <p:spPr bwMode="auto">
                <a:xfrm>
                  <a:off x="-74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2" name="Freeform 112"/>
                <p:cNvSpPr>
                  <a:spLocks noEditPoints="1"/>
                </p:cNvSpPr>
                <p:nvPr/>
              </p:nvSpPr>
              <p:spPr bwMode="auto">
                <a:xfrm>
                  <a:off x="-1099" y="1986"/>
                  <a:ext cx="180" cy="270"/>
                </a:xfrm>
                <a:custGeom>
                  <a:avLst/>
                  <a:gdLst/>
                  <a:ahLst/>
                  <a:cxnLst>
                    <a:cxn ang="0">
                      <a:pos x="69" y="101"/>
                    </a:cxn>
                    <a:cxn ang="0">
                      <a:pos x="67" y="101"/>
                    </a:cxn>
                    <a:cxn ang="0">
                      <a:pos x="74" y="114"/>
                    </a:cxn>
                    <a:cxn ang="0">
                      <a:pos x="76" y="114"/>
                    </a:cxn>
                    <a:cxn ang="0">
                      <a:pos x="69" y="101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11"/>
                    </a:cxn>
                    <a:cxn ang="0">
                      <a:pos x="66" y="100"/>
                    </a:cxn>
                    <a:cxn ang="0">
                      <a:pos x="68" y="100"/>
                    </a:cxn>
                    <a:cxn ang="0">
                      <a:pos x="10" y="1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6" h="114">
                      <a:moveTo>
                        <a:pt x="69" y="101"/>
                      </a:moveTo>
                      <a:cubicBezTo>
                        <a:pt x="67" y="101"/>
                        <a:pt x="67" y="101"/>
                        <a:pt x="67" y="101"/>
                      </a:cubicBezTo>
                      <a:cubicBezTo>
                        <a:pt x="69" y="106"/>
                        <a:pt x="72" y="110"/>
                        <a:pt x="74" y="114"/>
                      </a:cubicBezTo>
                      <a:cubicBezTo>
                        <a:pt x="76" y="114"/>
                        <a:pt x="76" y="114"/>
                        <a:pt x="76" y="114"/>
                      </a:cubicBezTo>
                      <a:cubicBezTo>
                        <a:pt x="74" y="110"/>
                        <a:pt x="72" y="106"/>
                        <a:pt x="69" y="101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3"/>
                        <a:pt x="5" y="7"/>
                        <a:pt x="8" y="11"/>
                      </a:cubicBezTo>
                      <a:cubicBezTo>
                        <a:pt x="31" y="44"/>
                        <a:pt x="53" y="77"/>
                        <a:pt x="66" y="100"/>
                      </a:cubicBezTo>
                      <a:cubicBezTo>
                        <a:pt x="68" y="100"/>
                        <a:pt x="68" y="100"/>
                        <a:pt x="68" y="100"/>
                      </a:cubicBezTo>
                      <a:cubicBezTo>
                        <a:pt x="55" y="77"/>
                        <a:pt x="33" y="43"/>
                        <a:pt x="10" y="10"/>
                      </a:cubicBezTo>
                      <a:cubicBezTo>
                        <a:pt x="7" y="7"/>
                        <a:pt x="5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3" name="Freeform 113"/>
                <p:cNvSpPr>
                  <a:spLocks/>
                </p:cNvSpPr>
                <p:nvPr/>
              </p:nvSpPr>
              <p:spPr bwMode="auto">
                <a:xfrm>
                  <a:off x="-943" y="2223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4" name="Freeform 114"/>
                <p:cNvSpPr>
                  <a:spLocks noEditPoints="1"/>
                </p:cNvSpPr>
                <p:nvPr/>
              </p:nvSpPr>
              <p:spPr bwMode="auto">
                <a:xfrm>
                  <a:off x="-924" y="2259"/>
                  <a:ext cx="109" cy="1017"/>
                </a:xfrm>
                <a:custGeom>
                  <a:avLst/>
                  <a:gdLst/>
                  <a:ahLst/>
                  <a:cxnLst>
                    <a:cxn ang="0">
                      <a:pos x="39" y="343"/>
                    </a:cxn>
                    <a:cxn ang="0">
                      <a:pos x="37" y="343"/>
                    </a:cxn>
                    <a:cxn ang="0">
                      <a:pos x="44" y="429"/>
                    </a:cxn>
                    <a:cxn ang="0">
                      <a:pos x="46" y="429"/>
                    </a:cxn>
                    <a:cxn ang="0">
                      <a:pos x="39" y="343"/>
                    </a:cxn>
                    <a:cxn ang="0">
                      <a:pos x="36" y="233"/>
                    </a:cxn>
                    <a:cxn ang="0">
                      <a:pos x="34" y="233"/>
                    </a:cxn>
                    <a:cxn ang="0">
                      <a:pos x="37" y="335"/>
                    </a:cxn>
                    <a:cxn ang="0">
                      <a:pos x="37" y="335"/>
                    </a:cxn>
                    <a:cxn ang="0">
                      <a:pos x="37" y="337"/>
                    </a:cxn>
                    <a:cxn ang="0">
                      <a:pos x="37" y="342"/>
                    </a:cxn>
                    <a:cxn ang="0">
                      <a:pos x="39" y="342"/>
                    </a:cxn>
                    <a:cxn ang="0">
                      <a:pos x="39" y="337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9" y="335"/>
                    </a:cxn>
                    <a:cxn ang="0">
                      <a:pos x="36" y="233"/>
                    </a:cxn>
                    <a:cxn ang="0">
                      <a:pos x="30" y="102"/>
                    </a:cxn>
                    <a:cxn ang="0">
                      <a:pos x="28" y="102"/>
                    </a:cxn>
                    <a:cxn ang="0">
                      <a:pos x="30" y="113"/>
                    </a:cxn>
                    <a:cxn ang="0">
                      <a:pos x="34" y="229"/>
                    </a:cxn>
                    <a:cxn ang="0">
                      <a:pos x="34" y="232"/>
                    </a:cxn>
                    <a:cxn ang="0">
                      <a:pos x="36" y="232"/>
                    </a:cxn>
                    <a:cxn ang="0">
                      <a:pos x="32" y="113"/>
                    </a:cxn>
                    <a:cxn ang="0">
                      <a:pos x="30" y="102"/>
                    </a:cxn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2" y="2"/>
                    </a:cxn>
                    <a:cxn ang="0">
                      <a:pos x="28" y="101"/>
                    </a:cxn>
                    <a:cxn ang="0">
                      <a:pos x="30" y="101"/>
                    </a:cxn>
                    <a:cxn ang="0">
                      <a:pos x="4" y="2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6" h="429">
                      <a:moveTo>
                        <a:pt x="39" y="343"/>
                      </a:moveTo>
                      <a:cubicBezTo>
                        <a:pt x="37" y="343"/>
                        <a:pt x="37" y="343"/>
                        <a:pt x="37" y="343"/>
                      </a:cubicBezTo>
                      <a:cubicBezTo>
                        <a:pt x="38" y="370"/>
                        <a:pt x="41" y="404"/>
                        <a:pt x="44" y="429"/>
                      </a:cubicBezTo>
                      <a:cubicBezTo>
                        <a:pt x="46" y="429"/>
                        <a:pt x="46" y="429"/>
                        <a:pt x="46" y="429"/>
                      </a:cubicBezTo>
                      <a:cubicBezTo>
                        <a:pt x="43" y="404"/>
                        <a:pt x="40" y="370"/>
                        <a:pt x="39" y="343"/>
                      </a:cubicBezTo>
                      <a:moveTo>
                        <a:pt x="36" y="233"/>
                      </a:moveTo>
                      <a:cubicBezTo>
                        <a:pt x="34" y="233"/>
                        <a:pt x="34" y="233"/>
                        <a:pt x="34" y="233"/>
                      </a:cubicBezTo>
                      <a:cubicBezTo>
                        <a:pt x="36" y="286"/>
                        <a:pt x="37" y="335"/>
                        <a:pt x="37" y="335"/>
                      </a:cubicBezTo>
                      <a:cubicBezTo>
                        <a:pt x="37" y="335"/>
                        <a:pt x="37" y="335"/>
                        <a:pt x="37" y="335"/>
                      </a:cubicBezTo>
                      <a:cubicBezTo>
                        <a:pt x="37" y="336"/>
                        <a:pt x="37" y="336"/>
                        <a:pt x="37" y="337"/>
                      </a:cubicBezTo>
                      <a:cubicBezTo>
                        <a:pt x="37" y="338"/>
                        <a:pt x="37" y="340"/>
                        <a:pt x="37" y="342"/>
                      </a:cubicBezTo>
                      <a:cubicBezTo>
                        <a:pt x="39" y="342"/>
                        <a:pt x="39" y="342"/>
                        <a:pt x="39" y="342"/>
                      </a:cubicBezTo>
                      <a:cubicBezTo>
                        <a:pt x="39" y="340"/>
                        <a:pt x="39" y="338"/>
                        <a:pt x="39" y="337"/>
                      </a:cubicBezTo>
                      <a:cubicBezTo>
                        <a:pt x="39" y="336"/>
                        <a:pt x="39" y="336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9" y="335"/>
                        <a:pt x="39" y="335"/>
                      </a:cubicBezTo>
                      <a:cubicBezTo>
                        <a:pt x="39" y="335"/>
                        <a:pt x="38" y="286"/>
                        <a:pt x="36" y="233"/>
                      </a:cubicBezTo>
                      <a:moveTo>
                        <a:pt x="30" y="102"/>
                      </a:moveTo>
                      <a:cubicBezTo>
                        <a:pt x="28" y="102"/>
                        <a:pt x="28" y="102"/>
                        <a:pt x="28" y="102"/>
                      </a:cubicBezTo>
                      <a:cubicBezTo>
                        <a:pt x="29" y="107"/>
                        <a:pt x="29" y="111"/>
                        <a:pt x="30" y="113"/>
                      </a:cubicBezTo>
                      <a:cubicBezTo>
                        <a:pt x="30" y="119"/>
                        <a:pt x="32" y="175"/>
                        <a:pt x="34" y="229"/>
                      </a:cubicBezTo>
                      <a:cubicBezTo>
                        <a:pt x="34" y="230"/>
                        <a:pt x="34" y="231"/>
                        <a:pt x="34" y="232"/>
                      </a:cubicBezTo>
                      <a:cubicBezTo>
                        <a:pt x="36" y="232"/>
                        <a:pt x="36" y="232"/>
                        <a:pt x="36" y="232"/>
                      </a:cubicBezTo>
                      <a:cubicBezTo>
                        <a:pt x="34" y="177"/>
                        <a:pt x="32" y="119"/>
                        <a:pt x="32" y="113"/>
                      </a:cubicBezTo>
                      <a:cubicBezTo>
                        <a:pt x="31" y="111"/>
                        <a:pt x="31" y="107"/>
                        <a:pt x="30" y="102"/>
                      </a:cubicBezTo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2"/>
                        <a:pt x="2" y="2"/>
                      </a:cubicBezTo>
                      <a:cubicBezTo>
                        <a:pt x="14" y="28"/>
                        <a:pt x="24" y="77"/>
                        <a:pt x="28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26" y="77"/>
                        <a:pt x="16" y="28"/>
                        <a:pt x="4" y="2"/>
                      </a:cubicBezTo>
                      <a:cubicBezTo>
                        <a:pt x="3" y="1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5" name="Freeform 115"/>
                <p:cNvSpPr>
                  <a:spLocks/>
                </p:cNvSpPr>
                <p:nvPr/>
              </p:nvSpPr>
              <p:spPr bwMode="auto">
                <a:xfrm>
                  <a:off x="-836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6" name="Freeform 116"/>
                <p:cNvSpPr>
                  <a:spLocks noEditPoints="1"/>
                </p:cNvSpPr>
                <p:nvPr/>
              </p:nvSpPr>
              <p:spPr bwMode="auto">
                <a:xfrm>
                  <a:off x="-1712" y="1524"/>
                  <a:ext cx="906" cy="1832"/>
                </a:xfrm>
                <a:custGeom>
                  <a:avLst/>
                  <a:gdLst/>
                  <a:ahLst/>
                  <a:cxnLst>
                    <a:cxn ang="0">
                      <a:pos x="379" y="740"/>
                    </a:cxn>
                    <a:cxn ang="0">
                      <a:pos x="377" y="740"/>
                    </a:cxn>
                    <a:cxn ang="0">
                      <a:pos x="381" y="772"/>
                    </a:cxn>
                    <a:cxn ang="0">
                      <a:pos x="383" y="772"/>
                    </a:cxn>
                    <a:cxn ang="0">
                      <a:pos x="383" y="773"/>
                    </a:cxn>
                    <a:cxn ang="0">
                      <a:pos x="383" y="773"/>
                    </a:cxn>
                    <a:cxn ang="0">
                      <a:pos x="382" y="760"/>
                    </a:cxn>
                    <a:cxn ang="0">
                      <a:pos x="379" y="740"/>
                    </a:cxn>
                    <a:cxn ang="0">
                      <a:pos x="179" y="98"/>
                    </a:cxn>
                    <a:cxn ang="0">
                      <a:pos x="176" y="98"/>
                    </a:cxn>
                    <a:cxn ang="0">
                      <a:pos x="189" y="109"/>
                    </a:cxn>
                    <a:cxn ang="0">
                      <a:pos x="258" y="194"/>
                    </a:cxn>
                    <a:cxn ang="0">
                      <a:pos x="261" y="194"/>
                    </a:cxn>
                    <a:cxn ang="0">
                      <a:pos x="190" y="107"/>
                    </a:cxn>
                    <a:cxn ang="0">
                      <a:pos x="179" y="98"/>
                    </a:cxn>
                    <a:cxn ang="0">
                      <a:pos x="1" y="0"/>
                    </a:cxn>
                    <a:cxn ang="0">
                      <a:pos x="0" y="2"/>
                    </a:cxn>
                    <a:cxn ang="0">
                      <a:pos x="175" y="97"/>
                    </a:cxn>
                    <a:cxn ang="0">
                      <a:pos x="178" y="97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383" h="773">
                      <a:moveTo>
                        <a:pt x="379" y="740"/>
                      </a:moveTo>
                      <a:cubicBezTo>
                        <a:pt x="377" y="740"/>
                        <a:pt x="377" y="740"/>
                        <a:pt x="377" y="740"/>
                      </a:cubicBezTo>
                      <a:cubicBezTo>
                        <a:pt x="379" y="757"/>
                        <a:pt x="381" y="769"/>
                        <a:pt x="381" y="772"/>
                      </a:cubicBezTo>
                      <a:cubicBezTo>
                        <a:pt x="383" y="772"/>
                        <a:pt x="383" y="772"/>
                        <a:pt x="383" y="772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73"/>
                        <a:pt x="383" y="773"/>
                      </a:cubicBezTo>
                      <a:cubicBezTo>
                        <a:pt x="383" y="773"/>
                        <a:pt x="383" y="768"/>
                        <a:pt x="382" y="760"/>
                      </a:cubicBezTo>
                      <a:cubicBezTo>
                        <a:pt x="381" y="755"/>
                        <a:pt x="380" y="748"/>
                        <a:pt x="379" y="740"/>
                      </a:cubicBezTo>
                      <a:moveTo>
                        <a:pt x="179" y="98"/>
                      </a:moveTo>
                      <a:cubicBezTo>
                        <a:pt x="176" y="98"/>
                        <a:pt x="176" y="98"/>
                        <a:pt x="176" y="98"/>
                      </a:cubicBezTo>
                      <a:cubicBezTo>
                        <a:pt x="181" y="102"/>
                        <a:pt x="185" y="106"/>
                        <a:pt x="189" y="109"/>
                      </a:cubicBezTo>
                      <a:cubicBezTo>
                        <a:pt x="204" y="122"/>
                        <a:pt x="231" y="156"/>
                        <a:pt x="258" y="194"/>
                      </a:cubicBezTo>
                      <a:cubicBezTo>
                        <a:pt x="261" y="194"/>
                        <a:pt x="261" y="194"/>
                        <a:pt x="261" y="194"/>
                      </a:cubicBezTo>
                      <a:cubicBezTo>
                        <a:pt x="233" y="156"/>
                        <a:pt x="206" y="121"/>
                        <a:pt x="190" y="107"/>
                      </a:cubicBezTo>
                      <a:cubicBezTo>
                        <a:pt x="187" y="104"/>
                        <a:pt x="183" y="101"/>
                        <a:pt x="179" y="98"/>
                      </a:cubicBezTo>
                      <a:moveTo>
                        <a:pt x="1" y="0"/>
                      </a:moveTo>
                      <a:cubicBezTo>
                        <a:pt x="0" y="2"/>
                        <a:pt x="0" y="2"/>
                        <a:pt x="0" y="2"/>
                      </a:cubicBezTo>
                      <a:cubicBezTo>
                        <a:pt x="82" y="22"/>
                        <a:pt x="139" y="66"/>
                        <a:pt x="175" y="97"/>
                      </a:cubicBezTo>
                      <a:cubicBezTo>
                        <a:pt x="178" y="97"/>
                        <a:pt x="178" y="97"/>
                        <a:pt x="178" y="97"/>
                      </a:cubicBezTo>
                      <a:cubicBezTo>
                        <a:pt x="142" y="66"/>
                        <a:pt x="84" y="2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7" name="Freeform 117"/>
                <p:cNvSpPr>
                  <a:spLocks/>
                </p:cNvSpPr>
                <p:nvPr/>
              </p:nvSpPr>
              <p:spPr bwMode="auto">
                <a:xfrm>
                  <a:off x="-1298" y="1754"/>
                  <a:ext cx="10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4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4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4" y="1"/>
                        <a:pt x="4" y="1"/>
                        <a:pt x="4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8" name="Freeform 118"/>
                <p:cNvSpPr>
                  <a:spLocks/>
                </p:cNvSpPr>
                <p:nvPr/>
              </p:nvSpPr>
              <p:spPr bwMode="auto">
                <a:xfrm>
                  <a:off x="-84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49" name="Freeform 119"/>
                <p:cNvSpPr>
                  <a:spLocks/>
                </p:cNvSpPr>
                <p:nvPr/>
              </p:nvSpPr>
              <p:spPr bwMode="auto">
                <a:xfrm>
                  <a:off x="-820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0" name="Freeform 120"/>
                <p:cNvSpPr>
                  <a:spLocks/>
                </p:cNvSpPr>
                <p:nvPr/>
              </p:nvSpPr>
              <p:spPr bwMode="auto">
                <a:xfrm>
                  <a:off x="-810" y="3356"/>
                  <a:ext cx="2" cy="1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0"/>
                        <a:pt x="1" y="0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1" name="Freeform 121"/>
                <p:cNvSpPr>
                  <a:spLocks/>
                </p:cNvSpPr>
                <p:nvPr/>
              </p:nvSpPr>
              <p:spPr bwMode="auto">
                <a:xfrm>
                  <a:off x="-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1"/>
                        <a:pt x="1" y="1"/>
                        <a:pt x="1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2" name="Freeform 122"/>
                <p:cNvSpPr>
                  <a:spLocks/>
                </p:cNvSpPr>
                <p:nvPr/>
              </p:nvSpPr>
              <p:spPr bwMode="auto">
                <a:xfrm>
                  <a:off x="-858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3" name="Freeform 123"/>
                <p:cNvSpPr>
                  <a:spLocks/>
                </p:cNvSpPr>
                <p:nvPr/>
              </p:nvSpPr>
              <p:spPr bwMode="auto">
                <a:xfrm>
                  <a:off x="-924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4" name="Freeform 124"/>
                <p:cNvSpPr>
                  <a:spLocks noEditPoints="1"/>
                </p:cNvSpPr>
                <p:nvPr/>
              </p:nvSpPr>
              <p:spPr bwMode="auto">
                <a:xfrm>
                  <a:off x="-2699" y="2451"/>
                  <a:ext cx="106" cy="825"/>
                </a:xfrm>
                <a:custGeom>
                  <a:avLst/>
                  <a:gdLst/>
                  <a:ahLst/>
                  <a:cxnLst>
                    <a:cxn ang="0">
                      <a:pos x="16" y="262"/>
                    </a:cxn>
                    <a:cxn ang="0">
                      <a:pos x="14" y="262"/>
                    </a:cxn>
                    <a:cxn ang="0">
                      <a:pos x="14" y="266"/>
                    </a:cxn>
                    <a:cxn ang="0">
                      <a:pos x="0" y="348"/>
                    </a:cxn>
                    <a:cxn ang="0">
                      <a:pos x="2" y="348"/>
                    </a:cxn>
                    <a:cxn ang="0">
                      <a:pos x="16" y="262"/>
                    </a:cxn>
                    <a:cxn ang="0">
                      <a:pos x="34" y="152"/>
                    </a:cxn>
                    <a:cxn ang="0">
                      <a:pos x="32" y="152"/>
                    </a:cxn>
                    <a:cxn ang="0">
                      <a:pos x="20" y="239"/>
                    </a:cxn>
                    <a:cxn ang="0">
                      <a:pos x="16" y="256"/>
                    </a:cxn>
                    <a:cxn ang="0">
                      <a:pos x="15" y="260"/>
                    </a:cxn>
                    <a:cxn ang="0">
                      <a:pos x="15" y="260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5" y="261"/>
                    </a:cxn>
                    <a:cxn ang="0">
                      <a:pos x="17" y="261"/>
                    </a:cxn>
                    <a:cxn ang="0">
                      <a:pos x="34" y="152"/>
                    </a:cxn>
                    <a:cxn ang="0">
                      <a:pos x="43" y="21"/>
                    </a:cxn>
                    <a:cxn ang="0">
                      <a:pos x="41" y="21"/>
                    </a:cxn>
                    <a:cxn ang="0">
                      <a:pos x="43" y="52"/>
                    </a:cxn>
                    <a:cxn ang="0">
                      <a:pos x="43" y="55"/>
                    </a:cxn>
                    <a:cxn ang="0">
                      <a:pos x="43" y="55"/>
                    </a:cxn>
                    <a:cxn ang="0">
                      <a:pos x="42" y="66"/>
                    </a:cxn>
                    <a:cxn ang="0">
                      <a:pos x="32" y="151"/>
                    </a:cxn>
                    <a:cxn ang="0">
                      <a:pos x="34" y="151"/>
                    </a:cxn>
                    <a:cxn ang="0">
                      <a:pos x="45" y="55"/>
                    </a:cxn>
                    <a:cxn ang="0">
                      <a:pos x="45" y="55"/>
                    </a:cxn>
                    <a:cxn ang="0">
                      <a:pos x="45" y="52"/>
                    </a:cxn>
                    <a:cxn ang="0">
                      <a:pos x="43" y="21"/>
                    </a:cxn>
                    <a:cxn ang="0">
                      <a:pos x="41" y="0"/>
                    </a:cxn>
                    <a:cxn ang="0">
                      <a:pos x="41" y="1"/>
                    </a:cxn>
                    <a:cxn ang="0">
                      <a:pos x="39" y="1"/>
                    </a:cxn>
                    <a:cxn ang="0">
                      <a:pos x="39" y="1"/>
                    </a:cxn>
                    <a:cxn ang="0">
                      <a:pos x="41" y="20"/>
                    </a:cxn>
                    <a:cxn ang="0">
                      <a:pos x="43" y="20"/>
                    </a:cxn>
                    <a:cxn ang="0">
                      <a:pos x="41" y="0"/>
                    </a:cxn>
                  </a:cxnLst>
                  <a:rect l="0" t="0" r="r" b="b"/>
                  <a:pathLst>
                    <a:path w="45" h="348">
                      <a:moveTo>
                        <a:pt x="16" y="262"/>
                      </a:moveTo>
                      <a:cubicBezTo>
                        <a:pt x="14" y="262"/>
                        <a:pt x="14" y="262"/>
                        <a:pt x="14" y="262"/>
                      </a:cubicBezTo>
                      <a:cubicBezTo>
                        <a:pt x="14" y="263"/>
                        <a:pt x="14" y="264"/>
                        <a:pt x="14" y="266"/>
                      </a:cubicBezTo>
                      <a:cubicBezTo>
                        <a:pt x="13" y="278"/>
                        <a:pt x="9" y="309"/>
                        <a:pt x="0" y="348"/>
                      </a:cubicBezTo>
                      <a:cubicBezTo>
                        <a:pt x="2" y="348"/>
                        <a:pt x="2" y="348"/>
                        <a:pt x="2" y="348"/>
                      </a:cubicBezTo>
                      <a:cubicBezTo>
                        <a:pt x="13" y="303"/>
                        <a:pt x="16" y="268"/>
                        <a:pt x="16" y="262"/>
                      </a:cubicBezTo>
                      <a:moveTo>
                        <a:pt x="34" y="152"/>
                      </a:moveTo>
                      <a:cubicBezTo>
                        <a:pt x="32" y="152"/>
                        <a:pt x="32" y="152"/>
                        <a:pt x="32" y="152"/>
                      </a:cubicBezTo>
                      <a:cubicBezTo>
                        <a:pt x="28" y="195"/>
                        <a:pt x="23" y="222"/>
                        <a:pt x="20" y="239"/>
                      </a:cubicBezTo>
                      <a:cubicBezTo>
                        <a:pt x="18" y="247"/>
                        <a:pt x="17" y="252"/>
                        <a:pt x="16" y="256"/>
                      </a:cubicBezTo>
                      <a:cubicBezTo>
                        <a:pt x="16" y="258"/>
                        <a:pt x="15" y="259"/>
                        <a:pt x="15" y="260"/>
                      </a:cubicBezTo>
                      <a:cubicBezTo>
                        <a:pt x="15" y="260"/>
                        <a:pt x="15" y="260"/>
                        <a:pt x="15" y="260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5" y="261"/>
                        <a:pt x="15" y="261"/>
                        <a:pt x="15" y="261"/>
                      </a:cubicBezTo>
                      <a:cubicBezTo>
                        <a:pt x="17" y="261"/>
                        <a:pt x="17" y="261"/>
                        <a:pt x="17" y="261"/>
                      </a:cubicBezTo>
                      <a:cubicBezTo>
                        <a:pt x="18" y="257"/>
                        <a:pt x="26" y="232"/>
                        <a:pt x="34" y="152"/>
                      </a:cubicBezTo>
                      <a:moveTo>
                        <a:pt x="43" y="21"/>
                      </a:moveTo>
                      <a:cubicBezTo>
                        <a:pt x="41" y="21"/>
                        <a:pt x="41" y="21"/>
                        <a:pt x="41" y="21"/>
                      </a:cubicBezTo>
                      <a:cubicBezTo>
                        <a:pt x="42" y="33"/>
                        <a:pt x="43" y="45"/>
                        <a:pt x="43" y="52"/>
                      </a:cubicBezTo>
                      <a:cubicBezTo>
                        <a:pt x="43" y="53"/>
                        <a:pt x="43" y="54"/>
                        <a:pt x="43" y="55"/>
                      </a:cubicBezTo>
                      <a:cubicBezTo>
                        <a:pt x="43" y="55"/>
                        <a:pt x="43" y="55"/>
                        <a:pt x="43" y="55"/>
                      </a:cubicBezTo>
                      <a:cubicBezTo>
                        <a:pt x="43" y="55"/>
                        <a:pt x="43" y="59"/>
                        <a:pt x="42" y="66"/>
                      </a:cubicBezTo>
                      <a:cubicBezTo>
                        <a:pt x="41" y="86"/>
                        <a:pt x="37" y="130"/>
                        <a:pt x="32" y="151"/>
                      </a:cubicBezTo>
                      <a:cubicBezTo>
                        <a:pt x="34" y="151"/>
                        <a:pt x="34" y="151"/>
                        <a:pt x="34" y="151"/>
                      </a:cubicBezTo>
                      <a:cubicBezTo>
                        <a:pt x="41" y="122"/>
                        <a:pt x="45" y="55"/>
                        <a:pt x="45" y="55"/>
                      </a:cubicBezTo>
                      <a:cubicBezTo>
                        <a:pt x="45" y="55"/>
                        <a:pt x="45" y="55"/>
                        <a:pt x="45" y="55"/>
                      </a:cubicBezTo>
                      <a:cubicBezTo>
                        <a:pt x="45" y="54"/>
                        <a:pt x="45" y="53"/>
                        <a:pt x="45" y="52"/>
                      </a:cubicBezTo>
                      <a:cubicBezTo>
                        <a:pt x="45" y="45"/>
                        <a:pt x="44" y="33"/>
                        <a:pt x="43" y="21"/>
                      </a:cubicBezTo>
                      <a:moveTo>
                        <a:pt x="41" y="0"/>
                      </a:moveTo>
                      <a:cubicBezTo>
                        <a:pt x="41" y="1"/>
                        <a:pt x="41" y="1"/>
                        <a:pt x="41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1"/>
                        <a:pt x="39" y="1"/>
                        <a:pt x="39" y="1"/>
                      </a:cubicBezTo>
                      <a:cubicBezTo>
                        <a:pt x="39" y="6"/>
                        <a:pt x="40" y="13"/>
                        <a:pt x="41" y="20"/>
                      </a:cubicBezTo>
                      <a:cubicBezTo>
                        <a:pt x="43" y="20"/>
                        <a:pt x="43" y="20"/>
                        <a:pt x="43" y="20"/>
                      </a:cubicBezTo>
                      <a:cubicBezTo>
                        <a:pt x="42" y="13"/>
                        <a:pt x="41" y="6"/>
                        <a:pt x="4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5" name="Freeform 125"/>
                <p:cNvSpPr>
                  <a:spLocks/>
                </p:cNvSpPr>
                <p:nvPr/>
              </p:nvSpPr>
              <p:spPr bwMode="auto">
                <a:xfrm>
                  <a:off x="-2666" y="3069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1"/>
                        <a:pt x="3" y="0"/>
                        <a:pt x="3" y="0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6" name="Freeform 126"/>
                <p:cNvSpPr>
                  <a:spLocks/>
                </p:cNvSpPr>
                <p:nvPr/>
              </p:nvSpPr>
              <p:spPr bwMode="auto">
                <a:xfrm>
                  <a:off x="-2796" y="3278"/>
                  <a:ext cx="102" cy="258"/>
                </a:xfrm>
                <a:custGeom>
                  <a:avLst/>
                  <a:gdLst/>
                  <a:ahLst/>
                  <a:cxnLst>
                    <a:cxn ang="0">
                      <a:pos x="43" y="0"/>
                    </a:cxn>
                    <a:cxn ang="0">
                      <a:pos x="40" y="0"/>
                    </a:cxn>
                    <a:cxn ang="0">
                      <a:pos x="0" y="108"/>
                    </a:cxn>
                    <a:cxn ang="0">
                      <a:pos x="1" y="109"/>
                    </a:cxn>
                    <a:cxn ang="0">
                      <a:pos x="2" y="109"/>
                    </a:cxn>
                    <a:cxn ang="0">
                      <a:pos x="33" y="33"/>
                    </a:cxn>
                    <a:cxn ang="0">
                      <a:pos x="33" y="32"/>
                    </a:cxn>
                    <a:cxn ang="0">
                      <a:pos x="34" y="32"/>
                    </a:cxn>
                    <a:cxn ang="0">
                      <a:pos x="43" y="0"/>
                    </a:cxn>
                  </a:cxnLst>
                  <a:rect l="0" t="0" r="r" b="b"/>
                  <a:pathLst>
                    <a:path w="43" h="109">
                      <a:moveTo>
                        <a:pt x="43" y="0"/>
                      </a:move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32" y="34"/>
                        <a:pt x="19" y="73"/>
                        <a:pt x="0" y="108"/>
                      </a:cubicBezTo>
                      <a:cubicBezTo>
                        <a:pt x="1" y="109"/>
                        <a:pt x="1" y="109"/>
                        <a:pt x="1" y="109"/>
                      </a:cubicBezTo>
                      <a:cubicBezTo>
                        <a:pt x="2" y="109"/>
                        <a:pt x="2" y="109"/>
                        <a:pt x="2" y="109"/>
                      </a:cubicBezTo>
                      <a:cubicBezTo>
                        <a:pt x="15" y="84"/>
                        <a:pt x="26" y="58"/>
                        <a:pt x="33" y="33"/>
                      </a:cubicBezTo>
                      <a:cubicBezTo>
                        <a:pt x="33" y="32"/>
                        <a:pt x="33" y="32"/>
                        <a:pt x="33" y="32"/>
                      </a:cubicBezTo>
                      <a:cubicBezTo>
                        <a:pt x="34" y="32"/>
                        <a:pt x="34" y="32"/>
                        <a:pt x="34" y="32"/>
                      </a:cubicBezTo>
                      <a:cubicBezTo>
                        <a:pt x="37" y="21"/>
                        <a:pt x="40" y="10"/>
                        <a:pt x="4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7" name="Freeform 127"/>
                <p:cNvSpPr>
                  <a:spLocks/>
                </p:cNvSpPr>
                <p:nvPr/>
              </p:nvSpPr>
              <p:spPr bwMode="auto">
                <a:xfrm>
                  <a:off x="-2623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8" name="Freeform 128"/>
                <p:cNvSpPr>
                  <a:spLocks/>
                </p:cNvSpPr>
                <p:nvPr/>
              </p:nvSpPr>
              <p:spPr bwMode="auto">
                <a:xfrm>
                  <a:off x="-2701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59" name="Freeform 129"/>
                <p:cNvSpPr>
                  <a:spLocks/>
                </p:cNvSpPr>
                <p:nvPr/>
              </p:nvSpPr>
              <p:spPr bwMode="auto">
                <a:xfrm>
                  <a:off x="-2718" y="33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1" y="0"/>
                    </a:cxn>
                  </a:cxnLst>
                  <a:rect l="0" t="0" r="r" b="b"/>
                  <a:pathLst>
                    <a:path w="1" h="1">
                      <a:moveTo>
                        <a:pt x="1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1" y="1"/>
                        <a:pt x="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0" name="Freeform 130"/>
                <p:cNvSpPr>
                  <a:spLocks/>
                </p:cNvSpPr>
                <p:nvPr/>
              </p:nvSpPr>
              <p:spPr bwMode="auto">
                <a:xfrm>
                  <a:off x="-2602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1" name="Freeform 131"/>
                <p:cNvSpPr>
                  <a:spLocks noEditPoints="1"/>
                </p:cNvSpPr>
                <p:nvPr/>
              </p:nvSpPr>
              <p:spPr bwMode="auto">
                <a:xfrm>
                  <a:off x="-3769" y="1986"/>
                  <a:ext cx="118" cy="270"/>
                </a:xfrm>
                <a:custGeom>
                  <a:avLst/>
                  <a:gdLst/>
                  <a:ahLst/>
                  <a:cxnLst>
                    <a:cxn ang="0">
                      <a:pos x="6" y="101"/>
                    </a:cxn>
                    <a:cxn ang="0">
                      <a:pos x="4" y="101"/>
                    </a:cxn>
                    <a:cxn ang="0">
                      <a:pos x="0" y="114"/>
                    </a:cxn>
                    <a:cxn ang="0">
                      <a:pos x="3" y="114"/>
                    </a:cxn>
                    <a:cxn ang="0">
                      <a:pos x="6" y="101"/>
                    </a:cxn>
                    <a:cxn ang="0">
                      <a:pos x="50" y="0"/>
                    </a:cxn>
                    <a:cxn ang="0">
                      <a:pos x="48" y="0"/>
                    </a:cxn>
                    <a:cxn ang="0">
                      <a:pos x="4" y="100"/>
                    </a:cxn>
                    <a:cxn ang="0">
                      <a:pos x="6" y="100"/>
                    </a:cxn>
                    <a:cxn ang="0">
                      <a:pos x="21" y="55"/>
                    </a:cxn>
                    <a:cxn ang="0">
                      <a:pos x="41" y="13"/>
                    </a:cxn>
                    <a:cxn ang="0">
                      <a:pos x="48" y="3"/>
                    </a:cxn>
                    <a:cxn ang="0">
                      <a:pos x="50" y="0"/>
                    </a:cxn>
                    <a:cxn ang="0">
                      <a:pos x="50" y="0"/>
                    </a:cxn>
                  </a:cxnLst>
                  <a:rect l="0" t="0" r="r" b="b"/>
                  <a:pathLst>
                    <a:path w="50" h="114">
                      <a:moveTo>
                        <a:pt x="6" y="101"/>
                      </a:move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05"/>
                        <a:pt x="1" y="109"/>
                        <a:pt x="0" y="114"/>
                      </a:cubicBezTo>
                      <a:cubicBezTo>
                        <a:pt x="3" y="114"/>
                        <a:pt x="3" y="114"/>
                        <a:pt x="3" y="114"/>
                      </a:cubicBezTo>
                      <a:cubicBezTo>
                        <a:pt x="4" y="109"/>
                        <a:pt x="5" y="105"/>
                        <a:pt x="6" y="101"/>
                      </a:cubicBezTo>
                      <a:moveTo>
                        <a:pt x="50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3" y="6"/>
                        <a:pt x="20" y="40"/>
                        <a:pt x="4" y="100"/>
                      </a:cubicBezTo>
                      <a:cubicBezTo>
                        <a:pt x="6" y="100"/>
                        <a:pt x="6" y="100"/>
                        <a:pt x="6" y="100"/>
                      </a:cubicBezTo>
                      <a:cubicBezTo>
                        <a:pt x="11" y="83"/>
                        <a:pt x="16" y="68"/>
                        <a:pt x="21" y="55"/>
                      </a:cubicBezTo>
                      <a:cubicBezTo>
                        <a:pt x="28" y="36"/>
                        <a:pt x="36" y="22"/>
                        <a:pt x="41" y="13"/>
                      </a:cubicBezTo>
                      <a:cubicBezTo>
                        <a:pt x="44" y="9"/>
                        <a:pt x="46" y="5"/>
                        <a:pt x="48" y="3"/>
                      </a:cubicBezTo>
                      <a:cubicBezTo>
                        <a:pt x="49" y="2"/>
                        <a:pt x="49" y="1"/>
                        <a:pt x="50" y="0"/>
                      </a:cubicBezTo>
                      <a:cubicBezTo>
                        <a:pt x="50" y="0"/>
                        <a:pt x="50" y="0"/>
                        <a:pt x="5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2" name="Freeform 132"/>
                <p:cNvSpPr>
                  <a:spLocks/>
                </p:cNvSpPr>
                <p:nvPr/>
              </p:nvSpPr>
              <p:spPr bwMode="auto">
                <a:xfrm>
                  <a:off x="-3759" y="2223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3" name="Freeform 133"/>
                <p:cNvSpPr>
                  <a:spLocks noEditPoints="1"/>
                </p:cNvSpPr>
                <p:nvPr/>
              </p:nvSpPr>
              <p:spPr bwMode="auto">
                <a:xfrm>
                  <a:off x="-3655" y="1522"/>
                  <a:ext cx="329" cy="462"/>
                </a:xfrm>
                <a:custGeom>
                  <a:avLst/>
                  <a:gdLst/>
                  <a:ahLst/>
                  <a:cxnLst>
                    <a:cxn ang="0">
                      <a:pos x="41" y="99"/>
                    </a:cxn>
                    <a:cxn ang="0">
                      <a:pos x="38" y="99"/>
                    </a:cxn>
                    <a:cxn ang="0">
                      <a:pos x="1" y="194"/>
                    </a:cxn>
                    <a:cxn ang="0">
                      <a:pos x="0" y="195"/>
                    </a:cxn>
                    <a:cxn ang="0">
                      <a:pos x="3" y="195"/>
                    </a:cxn>
                    <a:cxn ang="0">
                      <a:pos x="41" y="99"/>
                    </a:cxn>
                    <a:cxn ang="0">
                      <a:pos x="63" y="68"/>
                    </a:cxn>
                    <a:cxn ang="0">
                      <a:pos x="60" y="68"/>
                    </a:cxn>
                    <a:cxn ang="0">
                      <a:pos x="39" y="98"/>
                    </a:cxn>
                    <a:cxn ang="0">
                      <a:pos x="41" y="98"/>
                    </a:cxn>
                    <a:cxn ang="0">
                      <a:pos x="63" y="68"/>
                    </a:cxn>
                    <a:cxn ang="0">
                      <a:pos x="138" y="0"/>
                    </a:cxn>
                    <a:cxn ang="0">
                      <a:pos x="138" y="0"/>
                    </a:cxn>
                    <a:cxn ang="0">
                      <a:pos x="61" y="67"/>
                    </a:cxn>
                    <a:cxn ang="0">
                      <a:pos x="63" y="67"/>
                    </a:cxn>
                    <a:cxn ang="0">
                      <a:pos x="63" y="68"/>
                    </a:cxn>
                    <a:cxn ang="0">
                      <a:pos x="81" y="48"/>
                    </a:cxn>
                    <a:cxn ang="0">
                      <a:pos x="121" y="13"/>
                    </a:cxn>
                    <a:cxn ang="0">
                      <a:pos x="134" y="5"/>
                    </a:cxn>
                    <a:cxn ang="0">
                      <a:pos x="137" y="3"/>
                    </a:cxn>
                    <a:cxn ang="0">
                      <a:pos x="139" y="2"/>
                    </a:cxn>
                    <a:cxn ang="0">
                      <a:pos x="138" y="0"/>
                    </a:cxn>
                  </a:cxnLst>
                  <a:rect l="0" t="0" r="r" b="b"/>
                  <a:pathLst>
                    <a:path w="139" h="195">
                      <a:moveTo>
                        <a:pt x="41" y="99"/>
                      </a:moveTo>
                      <a:cubicBezTo>
                        <a:pt x="38" y="99"/>
                        <a:pt x="38" y="99"/>
                        <a:pt x="38" y="99"/>
                      </a:cubicBezTo>
                      <a:cubicBezTo>
                        <a:pt x="22" y="125"/>
                        <a:pt x="8" y="157"/>
                        <a:pt x="1" y="194"/>
                      </a:cubicBezTo>
                      <a:cubicBezTo>
                        <a:pt x="0" y="195"/>
                        <a:pt x="0" y="195"/>
                        <a:pt x="0" y="195"/>
                      </a:cubicBezTo>
                      <a:cubicBezTo>
                        <a:pt x="3" y="195"/>
                        <a:pt x="3" y="195"/>
                        <a:pt x="3" y="195"/>
                      </a:cubicBezTo>
                      <a:cubicBezTo>
                        <a:pt x="10" y="157"/>
                        <a:pt x="24" y="125"/>
                        <a:pt x="41" y="99"/>
                      </a:cubicBezTo>
                      <a:moveTo>
                        <a:pt x="63" y="68"/>
                      </a:moveTo>
                      <a:cubicBezTo>
                        <a:pt x="60" y="68"/>
                        <a:pt x="60" y="68"/>
                        <a:pt x="60" y="68"/>
                      </a:cubicBezTo>
                      <a:cubicBezTo>
                        <a:pt x="53" y="77"/>
                        <a:pt x="46" y="87"/>
                        <a:pt x="39" y="98"/>
                      </a:cubicBezTo>
                      <a:cubicBezTo>
                        <a:pt x="41" y="98"/>
                        <a:pt x="41" y="98"/>
                        <a:pt x="41" y="98"/>
                      </a:cubicBezTo>
                      <a:cubicBezTo>
                        <a:pt x="48" y="87"/>
                        <a:pt x="56" y="77"/>
                        <a:pt x="63" y="68"/>
                      </a:cubicBezTo>
                      <a:moveTo>
                        <a:pt x="138" y="0"/>
                      </a:moveTo>
                      <a:cubicBezTo>
                        <a:pt x="138" y="0"/>
                        <a:pt x="138" y="0"/>
                        <a:pt x="138" y="0"/>
                      </a:cubicBezTo>
                      <a:cubicBezTo>
                        <a:pt x="138" y="0"/>
                        <a:pt x="98" y="21"/>
                        <a:pt x="61" y="67"/>
                      </a:cubicBezTo>
                      <a:cubicBezTo>
                        <a:pt x="63" y="67"/>
                        <a:pt x="63" y="67"/>
                        <a:pt x="63" y="67"/>
                      </a:cubicBezTo>
                      <a:cubicBezTo>
                        <a:pt x="63" y="68"/>
                        <a:pt x="63" y="68"/>
                        <a:pt x="63" y="68"/>
                      </a:cubicBezTo>
                      <a:cubicBezTo>
                        <a:pt x="69" y="61"/>
                        <a:pt x="75" y="54"/>
                        <a:pt x="81" y="48"/>
                      </a:cubicBezTo>
                      <a:cubicBezTo>
                        <a:pt x="96" y="32"/>
                        <a:pt x="111" y="21"/>
                        <a:pt x="121" y="13"/>
                      </a:cubicBezTo>
                      <a:cubicBezTo>
                        <a:pt x="127" y="9"/>
                        <a:pt x="131" y="7"/>
                        <a:pt x="134" y="5"/>
                      </a:cubicBezTo>
                      <a:cubicBezTo>
                        <a:pt x="135" y="4"/>
                        <a:pt x="137" y="3"/>
                        <a:pt x="137" y="3"/>
                      </a:cubicBezTo>
                      <a:cubicBezTo>
                        <a:pt x="138" y="2"/>
                        <a:pt x="139" y="2"/>
                        <a:pt x="139" y="2"/>
                      </a:cubicBezTo>
                      <a:cubicBezTo>
                        <a:pt x="138" y="0"/>
                        <a:pt x="138" y="0"/>
                        <a:pt x="13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4" name="Freeform 134"/>
                <p:cNvSpPr>
                  <a:spLocks/>
                </p:cNvSpPr>
                <p:nvPr/>
              </p:nvSpPr>
              <p:spPr bwMode="auto">
                <a:xfrm>
                  <a:off x="-3565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5" name="Freeform 135"/>
                <p:cNvSpPr>
                  <a:spLocks/>
                </p:cNvSpPr>
                <p:nvPr/>
              </p:nvSpPr>
              <p:spPr bwMode="auto">
                <a:xfrm>
                  <a:off x="-3513" y="1681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1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6" name="Freeform 136"/>
                <p:cNvSpPr>
                  <a:spLocks noEditPoints="1"/>
                </p:cNvSpPr>
                <p:nvPr/>
              </p:nvSpPr>
              <p:spPr bwMode="auto">
                <a:xfrm>
                  <a:off x="-3800" y="2259"/>
                  <a:ext cx="36" cy="1017"/>
                </a:xfrm>
                <a:custGeom>
                  <a:avLst/>
                  <a:gdLst/>
                  <a:ahLst/>
                  <a:cxnLst>
                    <a:cxn ang="0">
                      <a:pos x="4" y="343"/>
                    </a:cxn>
                    <a:cxn ang="0">
                      <a:pos x="2" y="343"/>
                    </a:cxn>
                    <a:cxn ang="0">
                      <a:pos x="2" y="355"/>
                    </a:cxn>
                    <a:cxn ang="0">
                      <a:pos x="3" y="429"/>
                    </a:cxn>
                    <a:cxn ang="0">
                      <a:pos x="5" y="429"/>
                    </a:cxn>
                    <a:cxn ang="0">
                      <a:pos x="4" y="355"/>
                    </a:cxn>
                    <a:cxn ang="0">
                      <a:pos x="4" y="343"/>
                    </a:cxn>
                    <a:cxn ang="0">
                      <a:pos x="3" y="255"/>
                    </a:cxn>
                    <a:cxn ang="0">
                      <a:pos x="1" y="255"/>
                    </a:cxn>
                    <a:cxn ang="0">
                      <a:pos x="2" y="327"/>
                    </a:cxn>
                    <a:cxn ang="0">
                      <a:pos x="2" y="342"/>
                    </a:cxn>
                    <a:cxn ang="0">
                      <a:pos x="4" y="342"/>
                    </a:cxn>
                    <a:cxn ang="0">
                      <a:pos x="4" y="335"/>
                    </a:cxn>
                    <a:cxn ang="0">
                      <a:pos x="4" y="327"/>
                    </a:cxn>
                    <a:cxn ang="0">
                      <a:pos x="4" y="327"/>
                    </a:cxn>
                    <a:cxn ang="0">
                      <a:pos x="3" y="255"/>
                    </a:cxn>
                    <a:cxn ang="0">
                      <a:pos x="3" y="233"/>
                    </a:cxn>
                    <a:cxn ang="0">
                      <a:pos x="1" y="233"/>
                    </a:cxn>
                    <a:cxn ang="0">
                      <a:pos x="1" y="254"/>
                    </a:cxn>
                    <a:cxn ang="0">
                      <a:pos x="3" y="254"/>
                    </a:cxn>
                    <a:cxn ang="0">
                      <a:pos x="3" y="233"/>
                    </a:cxn>
                    <a:cxn ang="0">
                      <a:pos x="2" y="102"/>
                    </a:cxn>
                    <a:cxn ang="0">
                      <a:pos x="0" y="102"/>
                    </a:cxn>
                    <a:cxn ang="0">
                      <a:pos x="0" y="156"/>
                    </a:cxn>
                    <a:cxn ang="0">
                      <a:pos x="1" y="232"/>
                    </a:cxn>
                    <a:cxn ang="0">
                      <a:pos x="3" y="232"/>
                    </a:cxn>
                    <a:cxn ang="0">
                      <a:pos x="2" y="108"/>
                    </a:cxn>
                    <a:cxn ang="0">
                      <a:pos x="2" y="102"/>
                    </a:cxn>
                    <a:cxn ang="0">
                      <a:pos x="15" y="0"/>
                    </a:cxn>
                    <a:cxn ang="0">
                      <a:pos x="13" y="0"/>
                    </a:cxn>
                    <a:cxn ang="0">
                      <a:pos x="0" y="93"/>
                    </a:cxn>
                    <a:cxn ang="0">
                      <a:pos x="0" y="101"/>
                    </a:cxn>
                    <a:cxn ang="0">
                      <a:pos x="2" y="101"/>
                    </a:cxn>
                    <a:cxn ang="0">
                      <a:pos x="15" y="0"/>
                    </a:cxn>
                  </a:cxnLst>
                  <a:rect l="0" t="0" r="r" b="b"/>
                  <a:pathLst>
                    <a:path w="15" h="429">
                      <a:moveTo>
                        <a:pt x="4" y="343"/>
                      </a:moveTo>
                      <a:cubicBezTo>
                        <a:pt x="2" y="343"/>
                        <a:pt x="2" y="343"/>
                        <a:pt x="2" y="343"/>
                      </a:cubicBezTo>
                      <a:cubicBezTo>
                        <a:pt x="2" y="347"/>
                        <a:pt x="2" y="351"/>
                        <a:pt x="2" y="355"/>
                      </a:cubicBezTo>
                      <a:cubicBezTo>
                        <a:pt x="2" y="374"/>
                        <a:pt x="2" y="401"/>
                        <a:pt x="3" y="429"/>
                      </a:cubicBezTo>
                      <a:cubicBezTo>
                        <a:pt x="5" y="429"/>
                        <a:pt x="5" y="429"/>
                        <a:pt x="5" y="429"/>
                      </a:cubicBezTo>
                      <a:cubicBezTo>
                        <a:pt x="4" y="401"/>
                        <a:pt x="4" y="374"/>
                        <a:pt x="4" y="355"/>
                      </a:cubicBezTo>
                      <a:cubicBezTo>
                        <a:pt x="4" y="351"/>
                        <a:pt x="4" y="347"/>
                        <a:pt x="4" y="343"/>
                      </a:cubicBezTo>
                      <a:moveTo>
                        <a:pt x="3" y="255"/>
                      </a:moveTo>
                      <a:cubicBezTo>
                        <a:pt x="1" y="255"/>
                        <a:pt x="1" y="255"/>
                        <a:pt x="1" y="255"/>
                      </a:cubicBezTo>
                      <a:cubicBezTo>
                        <a:pt x="2" y="327"/>
                        <a:pt x="2" y="327"/>
                        <a:pt x="2" y="327"/>
                      </a:cubicBezTo>
                      <a:cubicBezTo>
                        <a:pt x="2" y="327"/>
                        <a:pt x="2" y="333"/>
                        <a:pt x="2" y="342"/>
                      </a:cubicBezTo>
                      <a:cubicBezTo>
                        <a:pt x="4" y="342"/>
                        <a:pt x="4" y="342"/>
                        <a:pt x="4" y="342"/>
                      </a:cubicBezTo>
                      <a:cubicBezTo>
                        <a:pt x="4" y="339"/>
                        <a:pt x="4" y="337"/>
                        <a:pt x="4" y="335"/>
                      </a:cubicBezTo>
                      <a:cubicBezTo>
                        <a:pt x="4" y="330"/>
                        <a:pt x="4" y="327"/>
                        <a:pt x="4" y="327"/>
                      </a:cubicBezTo>
                      <a:cubicBezTo>
                        <a:pt x="4" y="327"/>
                        <a:pt x="4" y="327"/>
                        <a:pt x="4" y="327"/>
                      </a:cubicBezTo>
                      <a:cubicBezTo>
                        <a:pt x="3" y="255"/>
                        <a:pt x="3" y="255"/>
                        <a:pt x="3" y="255"/>
                      </a:cubicBezTo>
                      <a:moveTo>
                        <a:pt x="3" y="233"/>
                      </a:moveTo>
                      <a:cubicBezTo>
                        <a:pt x="1" y="233"/>
                        <a:pt x="1" y="233"/>
                        <a:pt x="1" y="233"/>
                      </a:cubicBezTo>
                      <a:cubicBezTo>
                        <a:pt x="1" y="254"/>
                        <a:pt x="1" y="254"/>
                        <a:pt x="1" y="254"/>
                      </a:cubicBezTo>
                      <a:cubicBezTo>
                        <a:pt x="3" y="254"/>
                        <a:pt x="3" y="254"/>
                        <a:pt x="3" y="254"/>
                      </a:cubicBezTo>
                      <a:cubicBezTo>
                        <a:pt x="3" y="233"/>
                        <a:pt x="3" y="233"/>
                        <a:pt x="3" y="233"/>
                      </a:cubicBezTo>
                      <a:moveTo>
                        <a:pt x="2" y="102"/>
                      </a:moveTo>
                      <a:cubicBezTo>
                        <a:pt x="0" y="102"/>
                        <a:pt x="0" y="102"/>
                        <a:pt x="0" y="102"/>
                      </a:cubicBezTo>
                      <a:cubicBezTo>
                        <a:pt x="0" y="156"/>
                        <a:pt x="0" y="156"/>
                        <a:pt x="0" y="156"/>
                      </a:cubicBezTo>
                      <a:cubicBezTo>
                        <a:pt x="1" y="232"/>
                        <a:pt x="1" y="232"/>
                        <a:pt x="1" y="232"/>
                      </a:cubicBezTo>
                      <a:cubicBezTo>
                        <a:pt x="3" y="232"/>
                        <a:pt x="3" y="232"/>
                        <a:pt x="3" y="232"/>
                      </a:cubicBezTo>
                      <a:cubicBezTo>
                        <a:pt x="2" y="108"/>
                        <a:pt x="2" y="108"/>
                        <a:pt x="2" y="108"/>
                      </a:cubicBezTo>
                      <a:cubicBezTo>
                        <a:pt x="2" y="106"/>
                        <a:pt x="2" y="104"/>
                        <a:pt x="2" y="102"/>
                      </a:cubicBezTo>
                      <a:moveTo>
                        <a:pt x="15" y="0"/>
                      </a:moveTo>
                      <a:cubicBezTo>
                        <a:pt x="13" y="0"/>
                        <a:pt x="13" y="0"/>
                        <a:pt x="13" y="0"/>
                      </a:cubicBezTo>
                      <a:cubicBezTo>
                        <a:pt x="7" y="26"/>
                        <a:pt x="2" y="57"/>
                        <a:pt x="0" y="93"/>
                      </a:cubicBezTo>
                      <a:cubicBezTo>
                        <a:pt x="0" y="101"/>
                        <a:pt x="0" y="101"/>
                        <a:pt x="0" y="101"/>
                      </a:cubicBezTo>
                      <a:cubicBezTo>
                        <a:pt x="2" y="101"/>
                        <a:pt x="2" y="101"/>
                        <a:pt x="2" y="101"/>
                      </a:cubicBezTo>
                      <a:cubicBezTo>
                        <a:pt x="3" y="62"/>
                        <a:pt x="9" y="28"/>
                        <a:pt x="15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7" name="Freeform 137"/>
                <p:cNvSpPr>
                  <a:spLocks/>
                </p:cNvSpPr>
                <p:nvPr/>
              </p:nvSpPr>
              <p:spPr bwMode="auto">
                <a:xfrm>
                  <a:off x="-3795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8" name="Freeform 138"/>
                <p:cNvSpPr>
                  <a:spLocks/>
                </p:cNvSpPr>
                <p:nvPr/>
              </p:nvSpPr>
              <p:spPr bwMode="auto">
                <a:xfrm>
                  <a:off x="-3797" y="286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69" name="Freeform 139"/>
                <p:cNvSpPr>
                  <a:spLocks/>
                </p:cNvSpPr>
                <p:nvPr/>
              </p:nvSpPr>
              <p:spPr bwMode="auto">
                <a:xfrm>
                  <a:off x="-3793" y="3278"/>
                  <a:ext cx="15" cy="244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4" y="103"/>
                    </a:cxn>
                    <a:cxn ang="0">
                      <a:pos x="6" y="102"/>
                    </a:cxn>
                    <a:cxn ang="0">
                      <a:pos x="3" y="31"/>
                    </a:cxn>
                    <a:cxn ang="0">
                      <a:pos x="1" y="31"/>
                    </a:cxn>
                    <a:cxn ang="0">
                      <a:pos x="1" y="31"/>
                    </a:cxn>
                    <a:cxn ang="0">
                      <a:pos x="3" y="3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" h="103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1" y="35"/>
                        <a:pt x="2" y="73"/>
                        <a:pt x="4" y="103"/>
                      </a:cubicBezTo>
                      <a:cubicBezTo>
                        <a:pt x="6" y="102"/>
                        <a:pt x="6" y="102"/>
                        <a:pt x="6" y="102"/>
                      </a:cubicBezTo>
                      <a:cubicBezTo>
                        <a:pt x="5" y="82"/>
                        <a:pt x="3" y="57"/>
                        <a:pt x="3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1" y="31"/>
                        <a:pt x="1" y="31"/>
                        <a:pt x="1" y="31"/>
                      </a:cubicBezTo>
                      <a:cubicBezTo>
                        <a:pt x="3" y="31"/>
                        <a:pt x="3" y="31"/>
                        <a:pt x="3" y="31"/>
                      </a:cubicBezTo>
                      <a:cubicBezTo>
                        <a:pt x="2" y="20"/>
                        <a:pt x="2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0" name="Freeform 140"/>
                <p:cNvSpPr>
                  <a:spLocks/>
                </p:cNvSpPr>
                <p:nvPr/>
              </p:nvSpPr>
              <p:spPr bwMode="auto">
                <a:xfrm>
                  <a:off x="-3797" y="2809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1" name="Freeform 141"/>
                <p:cNvSpPr>
                  <a:spLocks/>
                </p:cNvSpPr>
                <p:nvPr/>
              </p:nvSpPr>
              <p:spPr bwMode="auto">
                <a:xfrm>
                  <a:off x="-3793" y="3276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2" name="Freeform 142"/>
                <p:cNvSpPr>
                  <a:spLocks/>
                </p:cNvSpPr>
                <p:nvPr/>
              </p:nvSpPr>
              <p:spPr bwMode="auto">
                <a:xfrm>
                  <a:off x="-3790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3" name="Freeform 143"/>
                <p:cNvSpPr>
                  <a:spLocks/>
                </p:cNvSpPr>
                <p:nvPr/>
              </p:nvSpPr>
              <p:spPr bwMode="auto">
                <a:xfrm>
                  <a:off x="-38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4" name="Freeform 144"/>
                <p:cNvSpPr>
                  <a:spLocks/>
                </p:cNvSpPr>
                <p:nvPr/>
              </p:nvSpPr>
              <p:spPr bwMode="auto">
                <a:xfrm>
                  <a:off x="-3769" y="2256"/>
                  <a:ext cx="7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5" name="Freeform 145"/>
                <p:cNvSpPr>
                  <a:spLocks noEditPoints="1"/>
                </p:cNvSpPr>
                <p:nvPr/>
              </p:nvSpPr>
              <p:spPr bwMode="auto">
                <a:xfrm>
                  <a:off x="-3669" y="1986"/>
                  <a:ext cx="168" cy="1290"/>
                </a:xfrm>
                <a:custGeom>
                  <a:avLst/>
                  <a:gdLst/>
                  <a:ahLst/>
                  <a:cxnLst>
                    <a:cxn ang="0">
                      <a:pos x="14" y="458"/>
                    </a:cxn>
                    <a:cxn ang="0">
                      <a:pos x="12" y="458"/>
                    </a:cxn>
                    <a:cxn ang="0">
                      <a:pos x="0" y="544"/>
                    </a:cxn>
                    <a:cxn ang="0">
                      <a:pos x="2" y="544"/>
                    </a:cxn>
                    <a:cxn ang="0">
                      <a:pos x="14" y="458"/>
                    </a:cxn>
                    <a:cxn ang="0">
                      <a:pos x="28" y="348"/>
                    </a:cxn>
                    <a:cxn ang="0">
                      <a:pos x="26" y="348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2"/>
                    </a:cxn>
                    <a:cxn ang="0">
                      <a:pos x="13" y="446"/>
                    </a:cxn>
                    <a:cxn ang="0">
                      <a:pos x="12" y="457"/>
                    </a:cxn>
                    <a:cxn ang="0">
                      <a:pos x="14" y="457"/>
                    </a:cxn>
                    <a:cxn ang="0">
                      <a:pos x="15" y="443"/>
                    </a:cxn>
                    <a:cxn ang="0">
                      <a:pos x="27" y="370"/>
                    </a:cxn>
                    <a:cxn ang="0">
                      <a:pos x="27" y="370"/>
                    </a:cxn>
                    <a:cxn ang="0">
                      <a:pos x="27" y="369"/>
                    </a:cxn>
                    <a:cxn ang="0">
                      <a:pos x="27" y="369"/>
                    </a:cxn>
                    <a:cxn ang="0">
                      <a:pos x="28" y="348"/>
                    </a:cxn>
                    <a:cxn ang="0">
                      <a:pos x="29" y="217"/>
                    </a:cxn>
                    <a:cxn ang="0">
                      <a:pos x="27" y="217"/>
                    </a:cxn>
                    <a:cxn ang="0">
                      <a:pos x="27" y="220"/>
                    </a:cxn>
                    <a:cxn ang="0">
                      <a:pos x="27" y="223"/>
                    </a:cxn>
                    <a:cxn ang="0">
                      <a:pos x="28" y="258"/>
                    </a:cxn>
                    <a:cxn ang="0">
                      <a:pos x="26" y="347"/>
                    </a:cxn>
                    <a:cxn ang="0">
                      <a:pos x="28" y="347"/>
                    </a:cxn>
                    <a:cxn ang="0">
                      <a:pos x="30" y="258"/>
                    </a:cxn>
                    <a:cxn ang="0">
                      <a:pos x="29" y="223"/>
                    </a:cxn>
                    <a:cxn ang="0">
                      <a:pos x="29" y="220"/>
                    </a:cxn>
                    <a:cxn ang="0">
                      <a:pos x="29" y="217"/>
                    </a:cxn>
                    <a:cxn ang="0">
                      <a:pos x="39" y="115"/>
                    </a:cxn>
                    <a:cxn ang="0">
                      <a:pos x="37" y="115"/>
                    </a:cxn>
                    <a:cxn ang="0">
                      <a:pos x="27" y="216"/>
                    </a:cxn>
                    <a:cxn ang="0">
                      <a:pos x="29" y="216"/>
                    </a:cxn>
                    <a:cxn ang="0">
                      <a:pos x="39" y="115"/>
                    </a:cxn>
                    <a:cxn ang="0">
                      <a:pos x="71" y="0"/>
                    </a:cxn>
                    <a:cxn ang="0">
                      <a:pos x="69" y="0"/>
                    </a:cxn>
                    <a:cxn ang="0">
                      <a:pos x="69" y="0"/>
                    </a:cxn>
                    <a:cxn ang="0">
                      <a:pos x="37" y="114"/>
                    </a:cxn>
                    <a:cxn ang="0">
                      <a:pos x="39" y="114"/>
                    </a:cxn>
                    <a:cxn ang="0">
                      <a:pos x="50" y="63"/>
                    </a:cxn>
                    <a:cxn ang="0">
                      <a:pos x="64" y="17"/>
                    </a:cxn>
                    <a:cxn ang="0">
                      <a:pos x="69" y="5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1"/>
                    </a:cxn>
                    <a:cxn ang="0">
                      <a:pos x="71" y="0"/>
                    </a:cxn>
                  </a:cxnLst>
                  <a:rect l="0" t="0" r="r" b="b"/>
                  <a:pathLst>
                    <a:path w="71" h="544">
                      <a:moveTo>
                        <a:pt x="14" y="458"/>
                      </a:moveTo>
                      <a:cubicBezTo>
                        <a:pt x="12" y="458"/>
                        <a:pt x="12" y="458"/>
                        <a:pt x="12" y="458"/>
                      </a:cubicBezTo>
                      <a:cubicBezTo>
                        <a:pt x="11" y="476"/>
                        <a:pt x="8" y="508"/>
                        <a:pt x="0" y="544"/>
                      </a:cubicBezTo>
                      <a:cubicBezTo>
                        <a:pt x="2" y="544"/>
                        <a:pt x="2" y="544"/>
                        <a:pt x="2" y="544"/>
                      </a:cubicBezTo>
                      <a:cubicBezTo>
                        <a:pt x="10" y="507"/>
                        <a:pt x="13" y="476"/>
                        <a:pt x="14" y="458"/>
                      </a:cubicBezTo>
                      <a:moveTo>
                        <a:pt x="28" y="348"/>
                      </a:moveTo>
                      <a:cubicBezTo>
                        <a:pt x="26" y="348"/>
                        <a:pt x="26" y="348"/>
                        <a:pt x="26" y="348"/>
                      </a:cubicBezTo>
                      <a:cubicBezTo>
                        <a:pt x="24" y="387"/>
                        <a:pt x="20" y="411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2"/>
                        <a:pt x="13" y="442"/>
                      </a:cubicBezTo>
                      <a:cubicBezTo>
                        <a:pt x="13" y="442"/>
                        <a:pt x="13" y="444"/>
                        <a:pt x="13" y="446"/>
                      </a:cubicBezTo>
                      <a:cubicBezTo>
                        <a:pt x="13" y="449"/>
                        <a:pt x="13" y="452"/>
                        <a:pt x="12" y="457"/>
                      </a:cubicBezTo>
                      <a:cubicBezTo>
                        <a:pt x="14" y="457"/>
                        <a:pt x="14" y="457"/>
                        <a:pt x="14" y="457"/>
                      </a:cubicBezTo>
                      <a:cubicBezTo>
                        <a:pt x="15" y="448"/>
                        <a:pt x="15" y="443"/>
                        <a:pt x="15" y="443"/>
                      </a:cubicBezTo>
                      <a:cubicBezTo>
                        <a:pt x="21" y="418"/>
                        <a:pt x="24" y="397"/>
                        <a:pt x="27" y="370"/>
                      </a:cubicBezTo>
                      <a:cubicBezTo>
                        <a:pt x="27" y="370"/>
                        <a:pt x="27" y="370"/>
                        <a:pt x="27" y="370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9"/>
                        <a:pt x="27" y="369"/>
                        <a:pt x="27" y="369"/>
                      </a:cubicBezTo>
                      <a:cubicBezTo>
                        <a:pt x="27" y="363"/>
                        <a:pt x="28" y="356"/>
                        <a:pt x="28" y="348"/>
                      </a:cubicBezTo>
                      <a:moveTo>
                        <a:pt x="29" y="217"/>
                      </a:moveTo>
                      <a:cubicBezTo>
                        <a:pt x="27" y="217"/>
                        <a:pt x="27" y="217"/>
                        <a:pt x="27" y="217"/>
                      </a:cubicBezTo>
                      <a:cubicBezTo>
                        <a:pt x="27" y="218"/>
                        <a:pt x="27" y="219"/>
                        <a:pt x="27" y="220"/>
                      </a:cubicBezTo>
                      <a:cubicBezTo>
                        <a:pt x="27" y="221"/>
                        <a:pt x="27" y="222"/>
                        <a:pt x="27" y="223"/>
                      </a:cubicBezTo>
                      <a:cubicBezTo>
                        <a:pt x="28" y="235"/>
                        <a:pt x="28" y="247"/>
                        <a:pt x="28" y="258"/>
                      </a:cubicBezTo>
                      <a:cubicBezTo>
                        <a:pt x="28" y="295"/>
                        <a:pt x="27" y="324"/>
                        <a:pt x="26" y="347"/>
                      </a:cubicBezTo>
                      <a:cubicBezTo>
                        <a:pt x="28" y="347"/>
                        <a:pt x="28" y="347"/>
                        <a:pt x="28" y="347"/>
                      </a:cubicBezTo>
                      <a:cubicBezTo>
                        <a:pt x="29" y="324"/>
                        <a:pt x="30" y="295"/>
                        <a:pt x="30" y="258"/>
                      </a:cubicBezTo>
                      <a:cubicBezTo>
                        <a:pt x="30" y="247"/>
                        <a:pt x="30" y="235"/>
                        <a:pt x="29" y="223"/>
                      </a:cubicBezTo>
                      <a:cubicBezTo>
                        <a:pt x="29" y="222"/>
                        <a:pt x="29" y="221"/>
                        <a:pt x="29" y="220"/>
                      </a:cubicBezTo>
                      <a:cubicBezTo>
                        <a:pt x="29" y="219"/>
                        <a:pt x="29" y="218"/>
                        <a:pt x="29" y="217"/>
                      </a:cubicBezTo>
                      <a:moveTo>
                        <a:pt x="39" y="115"/>
                      </a:moveTo>
                      <a:cubicBezTo>
                        <a:pt x="37" y="115"/>
                        <a:pt x="37" y="115"/>
                        <a:pt x="37" y="115"/>
                      </a:cubicBezTo>
                      <a:cubicBezTo>
                        <a:pt x="31" y="144"/>
                        <a:pt x="28" y="179"/>
                        <a:pt x="27" y="216"/>
                      </a:cubicBezTo>
                      <a:cubicBezTo>
                        <a:pt x="29" y="216"/>
                        <a:pt x="29" y="216"/>
                        <a:pt x="29" y="216"/>
                      </a:cubicBezTo>
                      <a:cubicBezTo>
                        <a:pt x="30" y="179"/>
                        <a:pt x="33" y="144"/>
                        <a:pt x="39" y="115"/>
                      </a:cubicBezTo>
                      <a:moveTo>
                        <a:pt x="71" y="0"/>
                      </a:move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9" y="0"/>
                        <a:pt x="69" y="0"/>
                        <a:pt x="69" y="0"/>
                      </a:cubicBezTo>
                      <a:cubicBezTo>
                        <a:pt x="68" y="3"/>
                        <a:pt x="49" y="46"/>
                        <a:pt x="37" y="114"/>
                      </a:cubicBezTo>
                      <a:cubicBezTo>
                        <a:pt x="39" y="114"/>
                        <a:pt x="39" y="114"/>
                        <a:pt x="39" y="114"/>
                      </a:cubicBezTo>
                      <a:cubicBezTo>
                        <a:pt x="42" y="95"/>
                        <a:pt x="46" y="78"/>
                        <a:pt x="50" y="63"/>
                      </a:cubicBezTo>
                      <a:cubicBezTo>
                        <a:pt x="55" y="43"/>
                        <a:pt x="60" y="28"/>
                        <a:pt x="64" y="17"/>
                      </a:cubicBezTo>
                      <a:cubicBezTo>
                        <a:pt x="66" y="12"/>
                        <a:pt x="68" y="8"/>
                        <a:pt x="69" y="5"/>
                      </a:cubicBezTo>
                      <a:cubicBezTo>
                        <a:pt x="70" y="2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1"/>
                        <a:pt x="71" y="1"/>
                        <a:pt x="71" y="1"/>
                      </a:cubicBezTo>
                      <a:cubicBezTo>
                        <a:pt x="71" y="0"/>
                        <a:pt x="71" y="0"/>
                        <a:pt x="71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6" name="Freeform 146"/>
                <p:cNvSpPr>
                  <a:spLocks/>
                </p:cNvSpPr>
                <p:nvPr/>
              </p:nvSpPr>
              <p:spPr bwMode="auto">
                <a:xfrm>
                  <a:off x="-3641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7" name="Freeform 147"/>
                <p:cNvSpPr>
                  <a:spLocks/>
                </p:cNvSpPr>
                <p:nvPr/>
              </p:nvSpPr>
              <p:spPr bwMode="auto">
                <a:xfrm>
                  <a:off x="-3606" y="2861"/>
                  <a:ext cx="1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0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h="1">
                      <a:moveTo>
                        <a:pt x="0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0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8" name="Freeform 148"/>
                <p:cNvSpPr>
                  <a:spLocks noEditPoints="1"/>
                </p:cNvSpPr>
                <p:nvPr/>
              </p:nvSpPr>
              <p:spPr bwMode="auto">
                <a:xfrm>
                  <a:off x="-3714" y="1522"/>
                  <a:ext cx="435" cy="1912"/>
                </a:xfrm>
                <a:custGeom>
                  <a:avLst/>
                  <a:gdLst/>
                  <a:ahLst/>
                  <a:cxnLst>
                    <a:cxn ang="0">
                      <a:pos x="13" y="772"/>
                    </a:cxn>
                    <a:cxn ang="0">
                      <a:pos x="11" y="772"/>
                    </a:cxn>
                    <a:cxn ang="0">
                      <a:pos x="0" y="807"/>
                    </a:cxn>
                    <a:cxn ang="0">
                      <a:pos x="1" y="807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8" y="741"/>
                    </a:cxn>
                    <a:cxn ang="0">
                      <a:pos x="11" y="772"/>
                    </a:cxn>
                    <a:cxn ang="0">
                      <a:pos x="13" y="772"/>
                    </a:cxn>
                    <a:cxn ang="0">
                      <a:pos x="20" y="741"/>
                    </a:cxn>
                    <a:cxn ang="0">
                      <a:pos x="119" y="99"/>
                    </a:cxn>
                    <a:cxn ang="0">
                      <a:pos x="116" y="99"/>
                    </a:cxn>
                    <a:cxn ang="0">
                      <a:pos x="88" y="195"/>
                    </a:cxn>
                    <a:cxn ang="0">
                      <a:pos x="90" y="195"/>
                    </a:cxn>
                    <a:cxn ang="0">
                      <a:pos x="119" y="99"/>
                    </a:cxn>
                    <a:cxn ang="0">
                      <a:pos x="183" y="0"/>
                    </a:cxn>
                    <a:cxn ang="0">
                      <a:pos x="182" y="0"/>
                    </a:cxn>
                    <a:cxn ang="0">
                      <a:pos x="117" y="98"/>
                    </a:cxn>
                    <a:cxn ang="0">
                      <a:pos x="119" y="98"/>
                    </a:cxn>
                    <a:cxn ang="0">
                      <a:pos x="149" y="41"/>
                    </a:cxn>
                    <a:cxn ang="0">
                      <a:pos x="173" y="10"/>
                    </a:cxn>
                    <a:cxn ang="0">
                      <a:pos x="181" y="4"/>
                    </a:cxn>
                    <a:cxn ang="0">
                      <a:pos x="183" y="2"/>
                    </a:cxn>
                    <a:cxn ang="0">
                      <a:pos x="184" y="2"/>
                    </a:cxn>
                    <a:cxn ang="0">
                      <a:pos x="183" y="0"/>
                    </a:cxn>
                  </a:cxnLst>
                  <a:rect l="0" t="0" r="r" b="b"/>
                  <a:pathLst>
                    <a:path w="184" h="807">
                      <a:moveTo>
                        <a:pt x="13" y="772"/>
                      </a:moveTo>
                      <a:cubicBezTo>
                        <a:pt x="11" y="772"/>
                        <a:pt x="11" y="772"/>
                        <a:pt x="11" y="772"/>
                      </a:cubicBezTo>
                      <a:cubicBezTo>
                        <a:pt x="7" y="784"/>
                        <a:pt x="4" y="795"/>
                        <a:pt x="0" y="807"/>
                      </a:cubicBezTo>
                      <a:cubicBezTo>
                        <a:pt x="1" y="807"/>
                        <a:pt x="1" y="807"/>
                        <a:pt x="1" y="807"/>
                      </a:cubicBezTo>
                      <a:cubicBezTo>
                        <a:pt x="6" y="796"/>
                        <a:pt x="9" y="784"/>
                        <a:pt x="13" y="772"/>
                      </a:cubicBezTo>
                      <a:moveTo>
                        <a:pt x="20" y="741"/>
                      </a:moveTo>
                      <a:cubicBezTo>
                        <a:pt x="18" y="741"/>
                        <a:pt x="18" y="741"/>
                        <a:pt x="18" y="741"/>
                      </a:cubicBezTo>
                      <a:cubicBezTo>
                        <a:pt x="16" y="751"/>
                        <a:pt x="14" y="761"/>
                        <a:pt x="11" y="772"/>
                      </a:cubicBezTo>
                      <a:cubicBezTo>
                        <a:pt x="13" y="772"/>
                        <a:pt x="13" y="772"/>
                        <a:pt x="13" y="772"/>
                      </a:cubicBezTo>
                      <a:cubicBezTo>
                        <a:pt x="16" y="761"/>
                        <a:pt x="18" y="751"/>
                        <a:pt x="20" y="741"/>
                      </a:cubicBezTo>
                      <a:moveTo>
                        <a:pt x="119" y="99"/>
                      </a:moveTo>
                      <a:cubicBezTo>
                        <a:pt x="116" y="99"/>
                        <a:pt x="116" y="99"/>
                        <a:pt x="116" y="99"/>
                      </a:cubicBezTo>
                      <a:cubicBezTo>
                        <a:pt x="106" y="124"/>
                        <a:pt x="96" y="156"/>
                        <a:pt x="88" y="195"/>
                      </a:cubicBezTo>
                      <a:cubicBezTo>
                        <a:pt x="90" y="195"/>
                        <a:pt x="90" y="195"/>
                        <a:pt x="90" y="195"/>
                      </a:cubicBezTo>
                      <a:cubicBezTo>
                        <a:pt x="98" y="156"/>
                        <a:pt x="108" y="124"/>
                        <a:pt x="119" y="99"/>
                      </a:cubicBezTo>
                      <a:moveTo>
                        <a:pt x="183" y="0"/>
                      </a:moveTo>
                      <a:cubicBezTo>
                        <a:pt x="182" y="0"/>
                        <a:pt x="182" y="0"/>
                        <a:pt x="182" y="0"/>
                      </a:cubicBezTo>
                      <a:cubicBezTo>
                        <a:pt x="179" y="2"/>
                        <a:pt x="146" y="26"/>
                        <a:pt x="117" y="98"/>
                      </a:cubicBezTo>
                      <a:cubicBezTo>
                        <a:pt x="119" y="98"/>
                        <a:pt x="119" y="98"/>
                        <a:pt x="119" y="98"/>
                      </a:cubicBezTo>
                      <a:cubicBezTo>
                        <a:pt x="129" y="74"/>
                        <a:pt x="139" y="55"/>
                        <a:pt x="149" y="41"/>
                      </a:cubicBezTo>
                      <a:cubicBezTo>
                        <a:pt x="158" y="26"/>
                        <a:pt x="167" y="16"/>
                        <a:pt x="173" y="10"/>
                      </a:cubicBezTo>
                      <a:cubicBezTo>
                        <a:pt x="177" y="7"/>
                        <a:pt x="179" y="5"/>
                        <a:pt x="181" y="4"/>
                      </a:cubicBezTo>
                      <a:cubicBezTo>
                        <a:pt x="182" y="3"/>
                        <a:pt x="182" y="3"/>
                        <a:pt x="183" y="2"/>
                      </a:cubicBezTo>
                      <a:cubicBezTo>
                        <a:pt x="184" y="2"/>
                        <a:pt x="184" y="2"/>
                        <a:pt x="184" y="2"/>
                      </a:cubicBezTo>
                      <a:cubicBezTo>
                        <a:pt x="183" y="0"/>
                        <a:pt x="183" y="0"/>
                        <a:pt x="18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79" name="Freeform 149"/>
                <p:cNvSpPr>
                  <a:spLocks/>
                </p:cNvSpPr>
                <p:nvPr/>
              </p:nvSpPr>
              <p:spPr bwMode="auto">
                <a:xfrm>
                  <a:off x="-3440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0" name="Freeform 150"/>
                <p:cNvSpPr>
                  <a:spLocks/>
                </p:cNvSpPr>
                <p:nvPr/>
              </p:nvSpPr>
              <p:spPr bwMode="auto">
                <a:xfrm>
                  <a:off x="-3608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1" name="Freeform 151"/>
                <p:cNvSpPr>
                  <a:spLocks/>
                </p:cNvSpPr>
                <p:nvPr/>
              </p:nvSpPr>
              <p:spPr bwMode="auto">
                <a:xfrm>
                  <a:off x="-3672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2" name="Freeform 152"/>
                <p:cNvSpPr>
                  <a:spLocks/>
                </p:cNvSpPr>
                <p:nvPr/>
              </p:nvSpPr>
              <p:spPr bwMode="auto">
                <a:xfrm>
                  <a:off x="-3688" y="3351"/>
                  <a:ext cx="4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3" name="Freeform 153"/>
                <p:cNvSpPr>
                  <a:spLocks/>
                </p:cNvSpPr>
                <p:nvPr/>
              </p:nvSpPr>
              <p:spPr bwMode="auto">
                <a:xfrm>
                  <a:off x="-36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4" name="Freeform 154"/>
                <p:cNvSpPr>
                  <a:spLocks/>
                </p:cNvSpPr>
                <p:nvPr/>
              </p:nvSpPr>
              <p:spPr bwMode="auto">
                <a:xfrm>
                  <a:off x="-3582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5" name="Freeform 155"/>
                <p:cNvSpPr>
                  <a:spLocks noEditPoints="1"/>
                </p:cNvSpPr>
                <p:nvPr/>
              </p:nvSpPr>
              <p:spPr bwMode="auto">
                <a:xfrm>
                  <a:off x="-3395" y="1986"/>
                  <a:ext cx="45" cy="270"/>
                </a:xfrm>
                <a:custGeom>
                  <a:avLst/>
                  <a:gdLst/>
                  <a:ahLst/>
                  <a:cxnLst>
                    <a:cxn ang="0">
                      <a:pos x="3" y="101"/>
                    </a:cxn>
                    <a:cxn ang="0">
                      <a:pos x="1" y="101"/>
                    </a:cxn>
                    <a:cxn ang="0">
                      <a:pos x="0" y="114"/>
                    </a:cxn>
                    <a:cxn ang="0">
                      <a:pos x="2" y="114"/>
                    </a:cxn>
                    <a:cxn ang="0">
                      <a:pos x="3" y="101"/>
                    </a:cxn>
                    <a:cxn ang="0">
                      <a:pos x="19" y="0"/>
                    </a:cxn>
                    <a:cxn ang="0">
                      <a:pos x="17" y="0"/>
                    </a:cxn>
                    <a:cxn ang="0">
                      <a:pos x="17" y="2"/>
                    </a:cxn>
                    <a:cxn ang="0">
                      <a:pos x="17" y="2"/>
                    </a:cxn>
                    <a:cxn ang="0">
                      <a:pos x="16" y="10"/>
                    </a:cxn>
                    <a:cxn ang="0">
                      <a:pos x="13" y="25"/>
                    </a:cxn>
                    <a:cxn ang="0">
                      <a:pos x="1" y="100"/>
                    </a:cxn>
                    <a:cxn ang="0">
                      <a:pos x="3" y="100"/>
                    </a:cxn>
                    <a:cxn ang="0">
                      <a:pos x="15" y="25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2"/>
                    </a:cxn>
                    <a:cxn ang="0">
                      <a:pos x="19" y="0"/>
                    </a:cxn>
                  </a:cxnLst>
                  <a:rect l="0" t="0" r="r" b="b"/>
                  <a:pathLst>
                    <a:path w="19" h="114">
                      <a:moveTo>
                        <a:pt x="3" y="101"/>
                      </a:moveTo>
                      <a:cubicBezTo>
                        <a:pt x="1" y="101"/>
                        <a:pt x="1" y="101"/>
                        <a:pt x="1" y="101"/>
                      </a:cubicBezTo>
                      <a:cubicBezTo>
                        <a:pt x="0" y="105"/>
                        <a:pt x="0" y="109"/>
                        <a:pt x="0" y="114"/>
                      </a:cubicBezTo>
                      <a:cubicBezTo>
                        <a:pt x="2" y="114"/>
                        <a:pt x="2" y="114"/>
                        <a:pt x="2" y="114"/>
                      </a:cubicBezTo>
                      <a:cubicBezTo>
                        <a:pt x="2" y="109"/>
                        <a:pt x="2" y="105"/>
                        <a:pt x="3" y="101"/>
                      </a:cubicBezTo>
                      <a:moveTo>
                        <a:pt x="19" y="0"/>
                      </a:moveTo>
                      <a:cubicBezTo>
                        <a:pt x="17" y="0"/>
                        <a:pt x="17" y="0"/>
                        <a:pt x="17" y="0"/>
                      </a:cubicBezTo>
                      <a:cubicBezTo>
                        <a:pt x="17" y="0"/>
                        <a:pt x="17" y="1"/>
                        <a:pt x="17" y="2"/>
                      </a:cubicBezTo>
                      <a:cubicBezTo>
                        <a:pt x="17" y="2"/>
                        <a:pt x="17" y="2"/>
                        <a:pt x="17" y="2"/>
                      </a:cubicBezTo>
                      <a:cubicBezTo>
                        <a:pt x="17" y="2"/>
                        <a:pt x="16" y="5"/>
                        <a:pt x="16" y="10"/>
                      </a:cubicBezTo>
                      <a:cubicBezTo>
                        <a:pt x="15" y="14"/>
                        <a:pt x="14" y="20"/>
                        <a:pt x="13" y="25"/>
                      </a:cubicBezTo>
                      <a:cubicBezTo>
                        <a:pt x="12" y="36"/>
                        <a:pt x="5" y="62"/>
                        <a:pt x="1" y="100"/>
                      </a:cubicBezTo>
                      <a:cubicBezTo>
                        <a:pt x="3" y="100"/>
                        <a:pt x="3" y="100"/>
                        <a:pt x="3" y="100"/>
                      </a:cubicBezTo>
                      <a:cubicBezTo>
                        <a:pt x="7" y="63"/>
                        <a:pt x="14" y="36"/>
                        <a:pt x="15" y="25"/>
                      </a:cubicBezTo>
                      <a:cubicBezTo>
                        <a:pt x="17" y="15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2"/>
                        <a:pt x="19" y="2"/>
                        <a:pt x="19" y="2"/>
                      </a:cubicBezTo>
                      <a:cubicBezTo>
                        <a:pt x="19" y="1"/>
                        <a:pt x="19" y="0"/>
                        <a:pt x="19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6" name="Freeform 156"/>
                <p:cNvSpPr>
                  <a:spLocks/>
                </p:cNvSpPr>
                <p:nvPr/>
              </p:nvSpPr>
              <p:spPr bwMode="auto">
                <a:xfrm>
                  <a:off x="-3393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7" name="Freeform 157"/>
                <p:cNvSpPr>
                  <a:spLocks noEditPoints="1"/>
                </p:cNvSpPr>
                <p:nvPr/>
              </p:nvSpPr>
              <p:spPr bwMode="auto">
                <a:xfrm>
                  <a:off x="-3355" y="1522"/>
                  <a:ext cx="119" cy="462"/>
                </a:xfrm>
                <a:custGeom>
                  <a:avLst/>
                  <a:gdLst/>
                  <a:ahLst/>
                  <a:cxnLst>
                    <a:cxn ang="0">
                      <a:pos x="12" y="99"/>
                    </a:cxn>
                    <a:cxn ang="0">
                      <a:pos x="9" y="99"/>
                    </a:cxn>
                    <a:cxn ang="0">
                      <a:pos x="0" y="195"/>
                    </a:cxn>
                    <a:cxn ang="0">
                      <a:pos x="2" y="195"/>
                    </a:cxn>
                    <a:cxn ang="0">
                      <a:pos x="12" y="99"/>
                    </a:cxn>
                    <a:cxn ang="0">
                      <a:pos x="19" y="68"/>
                    </a:cxn>
                    <a:cxn ang="0">
                      <a:pos x="17" y="68"/>
                    </a:cxn>
                    <a:cxn ang="0">
                      <a:pos x="10" y="98"/>
                    </a:cxn>
                    <a:cxn ang="0">
                      <a:pos x="12" y="98"/>
                    </a:cxn>
                    <a:cxn ang="0">
                      <a:pos x="19" y="68"/>
                    </a:cxn>
                    <a:cxn ang="0">
                      <a:pos x="48" y="0"/>
                    </a:cxn>
                    <a:cxn ang="0">
                      <a:pos x="48" y="0"/>
                    </a:cxn>
                    <a:cxn ang="0">
                      <a:pos x="17" y="67"/>
                    </a:cxn>
                    <a:cxn ang="0">
                      <a:pos x="19" y="67"/>
                    </a:cxn>
                    <a:cxn ang="0">
                      <a:pos x="26" y="47"/>
                    </a:cxn>
                    <a:cxn ang="0">
                      <a:pos x="42" y="12"/>
                    </a:cxn>
                    <a:cxn ang="0">
                      <a:pos x="48" y="4"/>
                    </a:cxn>
                    <a:cxn ang="0">
                      <a:pos x="49" y="2"/>
                    </a:cxn>
                    <a:cxn ang="0">
                      <a:pos x="50" y="2"/>
                    </a:cxn>
                    <a:cxn ang="0">
                      <a:pos x="48" y="0"/>
                    </a:cxn>
                  </a:cxnLst>
                  <a:rect l="0" t="0" r="r" b="b"/>
                  <a:pathLst>
                    <a:path w="50" h="195">
                      <a:moveTo>
                        <a:pt x="12" y="99"/>
                      </a:moveTo>
                      <a:cubicBezTo>
                        <a:pt x="9" y="99"/>
                        <a:pt x="9" y="99"/>
                        <a:pt x="9" y="99"/>
                      </a:cubicBezTo>
                      <a:cubicBezTo>
                        <a:pt x="4" y="125"/>
                        <a:pt x="0" y="157"/>
                        <a:pt x="0" y="195"/>
                      </a:cubicBezTo>
                      <a:cubicBezTo>
                        <a:pt x="2" y="195"/>
                        <a:pt x="2" y="195"/>
                        <a:pt x="2" y="195"/>
                      </a:cubicBezTo>
                      <a:cubicBezTo>
                        <a:pt x="2" y="157"/>
                        <a:pt x="6" y="125"/>
                        <a:pt x="12" y="99"/>
                      </a:cubicBezTo>
                      <a:moveTo>
                        <a:pt x="19" y="68"/>
                      </a:moveTo>
                      <a:cubicBezTo>
                        <a:pt x="17" y="68"/>
                        <a:pt x="17" y="68"/>
                        <a:pt x="17" y="68"/>
                      </a:cubicBezTo>
                      <a:cubicBezTo>
                        <a:pt x="14" y="77"/>
                        <a:pt x="12" y="87"/>
                        <a:pt x="10" y="98"/>
                      </a:cubicBezTo>
                      <a:cubicBezTo>
                        <a:pt x="12" y="98"/>
                        <a:pt x="12" y="98"/>
                        <a:pt x="12" y="98"/>
                      </a:cubicBezTo>
                      <a:cubicBezTo>
                        <a:pt x="14" y="87"/>
                        <a:pt x="16" y="77"/>
                        <a:pt x="19" y="68"/>
                      </a:cubicBezTo>
                      <a:moveTo>
                        <a:pt x="48" y="0"/>
                      </a:moveTo>
                      <a:cubicBezTo>
                        <a:pt x="48" y="0"/>
                        <a:pt x="48" y="0"/>
                        <a:pt x="48" y="0"/>
                      </a:cubicBezTo>
                      <a:cubicBezTo>
                        <a:pt x="48" y="0"/>
                        <a:pt x="31" y="21"/>
                        <a:pt x="17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2" y="60"/>
                        <a:pt x="24" y="53"/>
                        <a:pt x="26" y="47"/>
                      </a:cubicBezTo>
                      <a:cubicBezTo>
                        <a:pt x="32" y="31"/>
                        <a:pt x="38" y="20"/>
                        <a:pt x="42" y="12"/>
                      </a:cubicBezTo>
                      <a:cubicBezTo>
                        <a:pt x="45" y="9"/>
                        <a:pt x="46" y="6"/>
                        <a:pt x="48" y="4"/>
                      </a:cubicBezTo>
                      <a:cubicBezTo>
                        <a:pt x="48" y="3"/>
                        <a:pt x="49" y="3"/>
                        <a:pt x="49" y="2"/>
                      </a:cubicBezTo>
                      <a:cubicBezTo>
                        <a:pt x="50" y="2"/>
                        <a:pt x="50" y="2"/>
                        <a:pt x="50" y="2"/>
                      </a:cubicBezTo>
                      <a:cubicBezTo>
                        <a:pt x="48" y="0"/>
                        <a:pt x="48" y="0"/>
                        <a:pt x="48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8" name="Freeform 158"/>
                <p:cNvSpPr>
                  <a:spLocks/>
                </p:cNvSpPr>
                <p:nvPr/>
              </p:nvSpPr>
              <p:spPr bwMode="auto">
                <a:xfrm>
                  <a:off x="-3333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3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1" y="0"/>
                        <a:pt x="1" y="1"/>
                        <a:pt x="0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89" name="Freeform 159"/>
                <p:cNvSpPr>
                  <a:spLocks/>
                </p:cNvSpPr>
                <p:nvPr/>
              </p:nvSpPr>
              <p:spPr bwMode="auto">
                <a:xfrm>
                  <a:off x="-3314" y="1681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0" name="Freeform 160"/>
                <p:cNvSpPr>
                  <a:spLocks noEditPoints="1"/>
                </p:cNvSpPr>
                <p:nvPr/>
              </p:nvSpPr>
              <p:spPr bwMode="auto">
                <a:xfrm>
                  <a:off x="-3556" y="2259"/>
                  <a:ext cx="166" cy="1017"/>
                </a:xfrm>
                <a:custGeom>
                  <a:avLst/>
                  <a:gdLst/>
                  <a:ahLst/>
                  <a:cxnLst>
                    <a:cxn ang="0">
                      <a:pos x="28" y="343"/>
                    </a:cxn>
                    <a:cxn ang="0">
                      <a:pos x="26" y="343"/>
                    </a:cxn>
                    <a:cxn ang="0">
                      <a:pos x="0" y="429"/>
                    </a:cxn>
                    <a:cxn ang="0">
                      <a:pos x="2" y="429"/>
                    </a:cxn>
                    <a:cxn ang="0">
                      <a:pos x="28" y="343"/>
                    </a:cxn>
                    <a:cxn ang="0">
                      <a:pos x="54" y="255"/>
                    </a:cxn>
                    <a:cxn ang="0">
                      <a:pos x="52" y="255"/>
                    </a:cxn>
                    <a:cxn ang="0">
                      <a:pos x="48" y="267"/>
                    </a:cxn>
                    <a:cxn ang="0">
                      <a:pos x="35" y="312"/>
                    </a:cxn>
                    <a:cxn ang="0">
                      <a:pos x="30" y="324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9" y="329"/>
                    </a:cxn>
                    <a:cxn ang="0">
                      <a:pos x="26" y="342"/>
                    </a:cxn>
                    <a:cxn ang="0">
                      <a:pos x="28" y="342"/>
                    </a:cxn>
                    <a:cxn ang="0">
                      <a:pos x="31" y="329"/>
                    </a:cxn>
                    <a:cxn ang="0">
                      <a:pos x="31" y="329"/>
                    </a:cxn>
                    <a:cxn ang="0">
                      <a:pos x="54" y="255"/>
                    </a:cxn>
                    <a:cxn ang="0">
                      <a:pos x="59" y="233"/>
                    </a:cxn>
                    <a:cxn ang="0">
                      <a:pos x="57" y="233"/>
                    </a:cxn>
                    <a:cxn ang="0">
                      <a:pos x="52" y="254"/>
                    </a:cxn>
                    <a:cxn ang="0">
                      <a:pos x="54" y="254"/>
                    </a:cxn>
                    <a:cxn ang="0">
                      <a:pos x="59" y="233"/>
                    </a:cxn>
                    <a:cxn ang="0">
                      <a:pos x="68" y="102"/>
                    </a:cxn>
                    <a:cxn ang="0">
                      <a:pos x="66" y="102"/>
                    </a:cxn>
                    <a:cxn ang="0">
                      <a:pos x="67" y="110"/>
                    </a:cxn>
                    <a:cxn ang="0">
                      <a:pos x="68" y="136"/>
                    </a:cxn>
                    <a:cxn ang="0">
                      <a:pos x="57" y="232"/>
                    </a:cxn>
                    <a:cxn ang="0">
                      <a:pos x="59" y="232"/>
                    </a:cxn>
                    <a:cxn ang="0">
                      <a:pos x="70" y="136"/>
                    </a:cxn>
                    <a:cxn ang="0">
                      <a:pos x="69" y="110"/>
                    </a:cxn>
                    <a:cxn ang="0">
                      <a:pos x="68" y="102"/>
                    </a:cxn>
                    <a:cxn ang="0">
                      <a:pos x="70" y="0"/>
                    </a:cxn>
                    <a:cxn ang="0">
                      <a:pos x="68" y="0"/>
                    </a:cxn>
                    <a:cxn ang="0">
                      <a:pos x="65" y="58"/>
                    </a:cxn>
                    <a:cxn ang="0">
                      <a:pos x="66" y="101"/>
                    </a:cxn>
                    <a:cxn ang="0">
                      <a:pos x="68" y="101"/>
                    </a:cxn>
                    <a:cxn ang="0">
                      <a:pos x="67" y="58"/>
                    </a:cxn>
                    <a:cxn ang="0">
                      <a:pos x="70" y="0"/>
                    </a:cxn>
                  </a:cxnLst>
                  <a:rect l="0" t="0" r="r" b="b"/>
                  <a:pathLst>
                    <a:path w="70" h="429">
                      <a:moveTo>
                        <a:pt x="28" y="343"/>
                      </a:moveTo>
                      <a:cubicBezTo>
                        <a:pt x="26" y="343"/>
                        <a:pt x="26" y="343"/>
                        <a:pt x="26" y="343"/>
                      </a:cubicBezTo>
                      <a:cubicBezTo>
                        <a:pt x="18" y="376"/>
                        <a:pt x="9" y="405"/>
                        <a:pt x="0" y="429"/>
                      </a:cubicBezTo>
                      <a:cubicBezTo>
                        <a:pt x="2" y="429"/>
                        <a:pt x="2" y="429"/>
                        <a:pt x="2" y="429"/>
                      </a:cubicBezTo>
                      <a:cubicBezTo>
                        <a:pt x="11" y="405"/>
                        <a:pt x="20" y="376"/>
                        <a:pt x="28" y="343"/>
                      </a:cubicBezTo>
                      <a:moveTo>
                        <a:pt x="54" y="255"/>
                      </a:moveTo>
                      <a:cubicBezTo>
                        <a:pt x="52" y="255"/>
                        <a:pt x="52" y="255"/>
                        <a:pt x="52" y="255"/>
                      </a:cubicBezTo>
                      <a:cubicBezTo>
                        <a:pt x="51" y="259"/>
                        <a:pt x="49" y="263"/>
                        <a:pt x="48" y="267"/>
                      </a:cubicBezTo>
                      <a:cubicBezTo>
                        <a:pt x="43" y="286"/>
                        <a:pt x="39" y="301"/>
                        <a:pt x="35" y="312"/>
                      </a:cubicBezTo>
                      <a:cubicBezTo>
                        <a:pt x="33" y="317"/>
                        <a:pt x="31" y="321"/>
                        <a:pt x="30" y="324"/>
                      </a:cubicBezTo>
                      <a:cubicBezTo>
                        <a:pt x="29" y="327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9" y="329"/>
                        <a:pt x="29" y="329"/>
                        <a:pt x="29" y="329"/>
                      </a:cubicBezTo>
                      <a:cubicBezTo>
                        <a:pt x="28" y="333"/>
                        <a:pt x="27" y="338"/>
                        <a:pt x="26" y="342"/>
                      </a:cubicBezTo>
                      <a:cubicBezTo>
                        <a:pt x="28" y="342"/>
                        <a:pt x="28" y="342"/>
                        <a:pt x="28" y="342"/>
                      </a:cubicBezTo>
                      <a:cubicBezTo>
                        <a:pt x="29" y="338"/>
                        <a:pt x="30" y="334"/>
                        <a:pt x="31" y="329"/>
                      </a:cubicBezTo>
                      <a:cubicBezTo>
                        <a:pt x="31" y="329"/>
                        <a:pt x="31" y="329"/>
                        <a:pt x="31" y="329"/>
                      </a:cubicBezTo>
                      <a:cubicBezTo>
                        <a:pt x="32" y="327"/>
                        <a:pt x="43" y="297"/>
                        <a:pt x="54" y="255"/>
                      </a:cubicBezTo>
                      <a:moveTo>
                        <a:pt x="59" y="233"/>
                      </a:moveTo>
                      <a:cubicBezTo>
                        <a:pt x="57" y="233"/>
                        <a:pt x="57" y="233"/>
                        <a:pt x="57" y="233"/>
                      </a:cubicBezTo>
                      <a:cubicBezTo>
                        <a:pt x="55" y="240"/>
                        <a:pt x="53" y="247"/>
                        <a:pt x="52" y="254"/>
                      </a:cubicBezTo>
                      <a:cubicBezTo>
                        <a:pt x="54" y="254"/>
                        <a:pt x="54" y="254"/>
                        <a:pt x="54" y="254"/>
                      </a:cubicBezTo>
                      <a:cubicBezTo>
                        <a:pt x="56" y="247"/>
                        <a:pt x="57" y="240"/>
                        <a:pt x="59" y="233"/>
                      </a:cubicBezTo>
                      <a:moveTo>
                        <a:pt x="68" y="102"/>
                      </a:moveTo>
                      <a:cubicBezTo>
                        <a:pt x="66" y="102"/>
                        <a:pt x="66" y="102"/>
                        <a:pt x="66" y="102"/>
                      </a:cubicBezTo>
                      <a:cubicBezTo>
                        <a:pt x="67" y="105"/>
                        <a:pt x="67" y="107"/>
                        <a:pt x="67" y="110"/>
                      </a:cubicBezTo>
                      <a:cubicBezTo>
                        <a:pt x="68" y="118"/>
                        <a:pt x="68" y="127"/>
                        <a:pt x="68" y="136"/>
                      </a:cubicBezTo>
                      <a:cubicBezTo>
                        <a:pt x="68" y="169"/>
                        <a:pt x="63" y="202"/>
                        <a:pt x="57" y="232"/>
                      </a:cubicBezTo>
                      <a:cubicBezTo>
                        <a:pt x="59" y="232"/>
                        <a:pt x="59" y="232"/>
                        <a:pt x="59" y="232"/>
                      </a:cubicBezTo>
                      <a:cubicBezTo>
                        <a:pt x="65" y="202"/>
                        <a:pt x="70" y="169"/>
                        <a:pt x="70" y="136"/>
                      </a:cubicBezTo>
                      <a:cubicBezTo>
                        <a:pt x="70" y="127"/>
                        <a:pt x="70" y="118"/>
                        <a:pt x="69" y="110"/>
                      </a:cubicBezTo>
                      <a:cubicBezTo>
                        <a:pt x="69" y="107"/>
                        <a:pt x="69" y="105"/>
                        <a:pt x="68" y="102"/>
                      </a:cubicBezTo>
                      <a:moveTo>
                        <a:pt x="70" y="0"/>
                      </a:moveTo>
                      <a:cubicBezTo>
                        <a:pt x="68" y="0"/>
                        <a:pt x="68" y="0"/>
                        <a:pt x="68" y="0"/>
                      </a:cubicBezTo>
                      <a:cubicBezTo>
                        <a:pt x="66" y="17"/>
                        <a:pt x="65" y="37"/>
                        <a:pt x="65" y="58"/>
                      </a:cubicBezTo>
                      <a:cubicBezTo>
                        <a:pt x="65" y="72"/>
                        <a:pt x="65" y="86"/>
                        <a:pt x="66" y="101"/>
                      </a:cubicBezTo>
                      <a:cubicBezTo>
                        <a:pt x="68" y="101"/>
                        <a:pt x="68" y="101"/>
                        <a:pt x="68" y="101"/>
                      </a:cubicBezTo>
                      <a:cubicBezTo>
                        <a:pt x="67" y="86"/>
                        <a:pt x="67" y="72"/>
                        <a:pt x="67" y="58"/>
                      </a:cubicBezTo>
                      <a:cubicBezTo>
                        <a:pt x="67" y="37"/>
                        <a:pt x="68" y="17"/>
                        <a:pt x="7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1" name="Freeform 161"/>
                <p:cNvSpPr>
                  <a:spLocks/>
                </p:cNvSpPr>
                <p:nvPr/>
              </p:nvSpPr>
              <p:spPr bwMode="auto">
                <a:xfrm>
                  <a:off x="-3494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2" name="Freeform 162"/>
                <p:cNvSpPr>
                  <a:spLocks/>
                </p:cNvSpPr>
                <p:nvPr/>
              </p:nvSpPr>
              <p:spPr bwMode="auto">
                <a:xfrm>
                  <a:off x="-3433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3" name="Freeform 163"/>
                <p:cNvSpPr>
                  <a:spLocks noEditPoints="1"/>
                </p:cNvSpPr>
                <p:nvPr/>
              </p:nvSpPr>
              <p:spPr bwMode="auto">
                <a:xfrm>
                  <a:off x="-3629" y="3278"/>
                  <a:ext cx="76" cy="154"/>
                </a:xfrm>
                <a:custGeom>
                  <a:avLst/>
                  <a:gdLst/>
                  <a:ahLst/>
                  <a:cxnLst>
                    <a:cxn ang="0">
                      <a:pos x="19" y="31"/>
                    </a:cxn>
                    <a:cxn ang="0">
                      <a:pos x="17" y="31"/>
                    </a:cxn>
                    <a:cxn ang="0">
                      <a:pos x="7" y="52"/>
                    </a:cxn>
                    <a:cxn ang="0">
                      <a:pos x="2" y="61"/>
                    </a:cxn>
                    <a:cxn ang="0">
                      <a:pos x="0" y="64"/>
                    </a:cxn>
                    <a:cxn ang="0">
                      <a:pos x="2" y="65"/>
                    </a:cxn>
                    <a:cxn ang="0">
                      <a:pos x="19" y="31"/>
                    </a:cxn>
                    <a:cxn ang="0">
                      <a:pos x="32" y="0"/>
                    </a:cxn>
                    <a:cxn ang="0">
                      <a:pos x="30" y="0"/>
                    </a:cxn>
                    <a:cxn ang="0">
                      <a:pos x="23" y="18"/>
                    </a:cxn>
                    <a:cxn ang="0">
                      <a:pos x="17" y="31"/>
                    </a:cxn>
                    <a:cxn ang="0">
                      <a:pos x="19" y="31"/>
                    </a:cxn>
                    <a:cxn ang="0">
                      <a:pos x="32" y="0"/>
                    </a:cxn>
                  </a:cxnLst>
                  <a:rect l="0" t="0" r="r" b="b"/>
                  <a:pathLst>
                    <a:path w="32" h="65">
                      <a:moveTo>
                        <a:pt x="19" y="31"/>
                      </a:moveTo>
                      <a:cubicBezTo>
                        <a:pt x="17" y="31"/>
                        <a:pt x="17" y="31"/>
                        <a:pt x="17" y="31"/>
                      </a:cubicBezTo>
                      <a:cubicBezTo>
                        <a:pt x="13" y="40"/>
                        <a:pt x="9" y="47"/>
                        <a:pt x="7" y="52"/>
                      </a:cubicBezTo>
                      <a:cubicBezTo>
                        <a:pt x="5" y="56"/>
                        <a:pt x="3" y="59"/>
                        <a:pt x="2" y="61"/>
                      </a:cubicBezTo>
                      <a:cubicBezTo>
                        <a:pt x="1" y="63"/>
                        <a:pt x="0" y="64"/>
                        <a:pt x="0" y="64"/>
                      </a:cubicBezTo>
                      <a:cubicBezTo>
                        <a:pt x="2" y="65"/>
                        <a:pt x="2" y="65"/>
                        <a:pt x="2" y="65"/>
                      </a:cubicBezTo>
                      <a:cubicBezTo>
                        <a:pt x="2" y="65"/>
                        <a:pt x="9" y="53"/>
                        <a:pt x="19" y="31"/>
                      </a:cubicBezTo>
                      <a:moveTo>
                        <a:pt x="32" y="0"/>
                      </a:moveTo>
                      <a:cubicBezTo>
                        <a:pt x="30" y="0"/>
                        <a:pt x="30" y="0"/>
                        <a:pt x="30" y="0"/>
                      </a:cubicBezTo>
                      <a:cubicBezTo>
                        <a:pt x="28" y="7"/>
                        <a:pt x="25" y="13"/>
                        <a:pt x="23" y="18"/>
                      </a:cubicBezTo>
                      <a:cubicBezTo>
                        <a:pt x="21" y="23"/>
                        <a:pt x="19" y="27"/>
                        <a:pt x="17" y="31"/>
                      </a:cubicBezTo>
                      <a:cubicBezTo>
                        <a:pt x="19" y="31"/>
                        <a:pt x="19" y="31"/>
                        <a:pt x="19" y="31"/>
                      </a:cubicBezTo>
                      <a:cubicBezTo>
                        <a:pt x="23" y="22"/>
                        <a:pt x="28" y="12"/>
                        <a:pt x="3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4" name="Freeform 164"/>
                <p:cNvSpPr>
                  <a:spLocks/>
                </p:cNvSpPr>
                <p:nvPr/>
              </p:nvSpPr>
              <p:spPr bwMode="auto">
                <a:xfrm>
                  <a:off x="-3421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5" name="Freeform 165"/>
                <p:cNvSpPr>
                  <a:spLocks/>
                </p:cNvSpPr>
                <p:nvPr/>
              </p:nvSpPr>
              <p:spPr bwMode="auto">
                <a:xfrm>
                  <a:off x="-3558" y="3276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1">
                      <a:moveTo>
                        <a:pt x="3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0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3" y="0"/>
                        <a:pt x="3" y="0"/>
                        <a:pt x="3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6" name="Freeform 166"/>
                <p:cNvSpPr>
                  <a:spLocks/>
                </p:cNvSpPr>
                <p:nvPr/>
              </p:nvSpPr>
              <p:spPr bwMode="auto">
                <a:xfrm>
                  <a:off x="-3589" y="3351"/>
                  <a:ext cx="5" cy="1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0"/>
                        <a:pt x="2" y="0"/>
                        <a:pt x="2" y="0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7" name="Freeform 167"/>
                <p:cNvSpPr>
                  <a:spLocks/>
                </p:cNvSpPr>
                <p:nvPr/>
              </p:nvSpPr>
              <p:spPr bwMode="auto">
                <a:xfrm>
                  <a:off x="-3400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8" name="Freeform 168"/>
                <p:cNvSpPr>
                  <a:spLocks/>
                </p:cNvSpPr>
                <p:nvPr/>
              </p:nvSpPr>
              <p:spPr bwMode="auto">
                <a:xfrm>
                  <a:off x="-3395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299" name="Freeform 169"/>
                <p:cNvSpPr>
                  <a:spLocks/>
                </p:cNvSpPr>
                <p:nvPr/>
              </p:nvSpPr>
              <p:spPr bwMode="auto">
                <a:xfrm>
                  <a:off x="-3201" y="1986"/>
                  <a:ext cx="3" cy="270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270"/>
                    </a:cxn>
                    <a:cxn ang="0">
                      <a:pos x="3" y="270"/>
                    </a:cxn>
                    <a:cxn ang="0">
                      <a:pos x="3" y="240"/>
                    </a:cxn>
                    <a:cxn ang="0">
                      <a:pos x="0" y="240"/>
                    </a:cxn>
                    <a:cxn ang="0">
                      <a:pos x="0" y="237"/>
                    </a:cxn>
                    <a:cxn ang="0">
                      <a:pos x="3" y="237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270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270"/>
                      </a:lnTo>
                      <a:lnTo>
                        <a:pt x="3" y="270"/>
                      </a:lnTo>
                      <a:lnTo>
                        <a:pt x="3" y="240"/>
                      </a:lnTo>
                      <a:lnTo>
                        <a:pt x="0" y="240"/>
                      </a:lnTo>
                      <a:lnTo>
                        <a:pt x="0" y="237"/>
                      </a:lnTo>
                      <a:lnTo>
                        <a:pt x="3" y="237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0" name="Freeform 170"/>
                <p:cNvSpPr>
                  <a:spLocks/>
                </p:cNvSpPr>
                <p:nvPr/>
              </p:nvSpPr>
              <p:spPr bwMode="auto">
                <a:xfrm>
                  <a:off x="-3201" y="2223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1" name="Freeform 171"/>
                <p:cNvSpPr>
                  <a:spLocks noEditPoints="1"/>
                </p:cNvSpPr>
                <p:nvPr/>
              </p:nvSpPr>
              <p:spPr bwMode="auto">
                <a:xfrm>
                  <a:off x="-3203" y="1524"/>
                  <a:ext cx="7" cy="998"/>
                </a:xfrm>
                <a:custGeom>
                  <a:avLst/>
                  <a:gdLst/>
                  <a:ahLst/>
                  <a:cxnLst>
                    <a:cxn ang="0">
                      <a:pos x="7" y="977"/>
                    </a:cxn>
                    <a:cxn ang="0">
                      <a:pos x="5" y="977"/>
                    </a:cxn>
                    <a:cxn ang="0">
                      <a:pos x="5" y="998"/>
                    </a:cxn>
                    <a:cxn ang="0">
                      <a:pos x="7" y="998"/>
                    </a:cxn>
                    <a:cxn ang="0">
                      <a:pos x="7" y="977"/>
                    </a:cxn>
                    <a:cxn ang="0">
                      <a:pos x="7" y="977"/>
                    </a:cxn>
                    <a:cxn ang="0">
                      <a:pos x="5" y="735"/>
                    </a:cxn>
                    <a:cxn ang="0">
                      <a:pos x="2" y="735"/>
                    </a:cxn>
                    <a:cxn ang="0">
                      <a:pos x="5" y="974"/>
                    </a:cxn>
                    <a:cxn ang="0">
                      <a:pos x="7" y="974"/>
                    </a:cxn>
                    <a:cxn ang="0">
                      <a:pos x="5" y="735"/>
                    </a:cxn>
                    <a:cxn ang="0">
                      <a:pos x="5" y="735"/>
                    </a:cxn>
                    <a:cxn ang="0">
                      <a:pos x="2" y="232"/>
                    </a:cxn>
                    <a:cxn ang="0">
                      <a:pos x="0" y="232"/>
                    </a:cxn>
                    <a:cxn ang="0">
                      <a:pos x="2" y="460"/>
                    </a:cxn>
                    <a:cxn ang="0">
                      <a:pos x="2" y="460"/>
                    </a:cxn>
                    <a:cxn ang="0">
                      <a:pos x="2" y="232"/>
                    </a:cxn>
                    <a:cxn ang="0">
                      <a:pos x="2" y="23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30"/>
                    </a:cxn>
                    <a:cxn ang="0">
                      <a:pos x="2" y="230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7" h="998">
                      <a:moveTo>
                        <a:pt x="7" y="977"/>
                      </a:moveTo>
                      <a:lnTo>
                        <a:pt x="5" y="977"/>
                      </a:lnTo>
                      <a:lnTo>
                        <a:pt x="5" y="998"/>
                      </a:lnTo>
                      <a:lnTo>
                        <a:pt x="7" y="998"/>
                      </a:lnTo>
                      <a:lnTo>
                        <a:pt x="7" y="977"/>
                      </a:lnTo>
                      <a:lnTo>
                        <a:pt x="7" y="977"/>
                      </a:lnTo>
                      <a:close/>
                      <a:moveTo>
                        <a:pt x="5" y="735"/>
                      </a:moveTo>
                      <a:lnTo>
                        <a:pt x="2" y="735"/>
                      </a:lnTo>
                      <a:lnTo>
                        <a:pt x="5" y="974"/>
                      </a:lnTo>
                      <a:lnTo>
                        <a:pt x="7" y="974"/>
                      </a:lnTo>
                      <a:lnTo>
                        <a:pt x="5" y="735"/>
                      </a:lnTo>
                      <a:lnTo>
                        <a:pt x="5" y="735"/>
                      </a:lnTo>
                      <a:close/>
                      <a:moveTo>
                        <a:pt x="2" y="232"/>
                      </a:moveTo>
                      <a:lnTo>
                        <a:pt x="0" y="232"/>
                      </a:lnTo>
                      <a:lnTo>
                        <a:pt x="2" y="460"/>
                      </a:lnTo>
                      <a:lnTo>
                        <a:pt x="2" y="460"/>
                      </a:lnTo>
                      <a:lnTo>
                        <a:pt x="2" y="232"/>
                      </a:lnTo>
                      <a:lnTo>
                        <a:pt x="2" y="232"/>
                      </a:lnTo>
                      <a:close/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30"/>
                      </a:lnTo>
                      <a:lnTo>
                        <a:pt x="2" y="230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2" name="Freeform 172"/>
                <p:cNvSpPr>
                  <a:spLocks/>
                </p:cNvSpPr>
                <p:nvPr/>
              </p:nvSpPr>
              <p:spPr bwMode="auto">
                <a:xfrm>
                  <a:off x="-3203" y="1754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2" y="2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3" name="Freeform 173"/>
                <p:cNvSpPr>
                  <a:spLocks/>
                </p:cNvSpPr>
                <p:nvPr/>
              </p:nvSpPr>
              <p:spPr bwMode="auto">
                <a:xfrm>
                  <a:off x="-3198" y="2498"/>
                  <a:ext cx="2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2" y="3"/>
                    </a:cxn>
                    <a:cxn ang="0">
                      <a:pos x="2" y="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4" name="Freeform 174"/>
                <p:cNvSpPr>
                  <a:spLocks/>
                </p:cNvSpPr>
                <p:nvPr/>
              </p:nvSpPr>
              <p:spPr bwMode="auto">
                <a:xfrm>
                  <a:off x="-3201" y="2256"/>
                  <a:ext cx="3" cy="3"/>
                </a:xfrm>
                <a:custGeom>
                  <a:avLst/>
                  <a:gdLst/>
                  <a:ahLst/>
                  <a:cxnLst>
                    <a:cxn ang="0">
                      <a:pos x="3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3" y="3"/>
                    </a:cxn>
                    <a:cxn ang="0">
                      <a:pos x="3" y="0"/>
                    </a:cxn>
                    <a:cxn ang="0">
                      <a:pos x="3" y="0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3"/>
                      </a:lnTo>
                      <a:lnTo>
                        <a:pt x="3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5" name="Freeform 175"/>
                <p:cNvSpPr>
                  <a:spLocks noEditPoints="1"/>
                </p:cNvSpPr>
                <p:nvPr/>
              </p:nvSpPr>
              <p:spPr bwMode="auto">
                <a:xfrm>
                  <a:off x="-3161" y="1524"/>
                  <a:ext cx="152" cy="732"/>
                </a:xfrm>
                <a:custGeom>
                  <a:avLst/>
                  <a:gdLst/>
                  <a:ahLst/>
                  <a:cxnLst>
                    <a:cxn ang="0">
                      <a:pos x="50" y="195"/>
                    </a:cxn>
                    <a:cxn ang="0">
                      <a:pos x="48" y="195"/>
                    </a:cxn>
                    <a:cxn ang="0">
                      <a:pos x="62" y="309"/>
                    </a:cxn>
                    <a:cxn ang="0">
                      <a:pos x="64" y="309"/>
                    </a:cxn>
                    <a:cxn ang="0">
                      <a:pos x="50" y="195"/>
                    </a:cxn>
                    <a:cxn ang="0">
                      <a:pos x="29" y="98"/>
                    </a:cxn>
                    <a:cxn ang="0">
                      <a:pos x="27" y="98"/>
                    </a:cxn>
                    <a:cxn ang="0">
                      <a:pos x="48" y="194"/>
                    </a:cxn>
                    <a:cxn ang="0">
                      <a:pos x="50" y="194"/>
                    </a:cxn>
                    <a:cxn ang="0">
                      <a:pos x="29" y="98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2" y="9"/>
                    </a:cxn>
                    <a:cxn ang="0">
                      <a:pos x="19" y="66"/>
                    </a:cxn>
                    <a:cxn ang="0">
                      <a:pos x="21" y="66"/>
                    </a:cxn>
                    <a:cxn ang="0">
                      <a:pos x="21" y="67"/>
                    </a:cxn>
                    <a:cxn ang="0">
                      <a:pos x="19" y="67"/>
                    </a:cxn>
                    <a:cxn ang="0">
                      <a:pos x="27" y="97"/>
                    </a:cxn>
                    <a:cxn ang="0">
                      <a:pos x="29" y="9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64" h="309">
                      <a:moveTo>
                        <a:pt x="50" y="195"/>
                      </a:moveTo>
                      <a:cubicBezTo>
                        <a:pt x="48" y="195"/>
                        <a:pt x="48" y="195"/>
                        <a:pt x="48" y="195"/>
                      </a:cubicBezTo>
                      <a:cubicBezTo>
                        <a:pt x="55" y="233"/>
                        <a:pt x="61" y="273"/>
                        <a:pt x="62" y="309"/>
                      </a:cubicBezTo>
                      <a:cubicBezTo>
                        <a:pt x="64" y="309"/>
                        <a:pt x="64" y="309"/>
                        <a:pt x="64" y="309"/>
                      </a:cubicBezTo>
                      <a:cubicBezTo>
                        <a:pt x="63" y="273"/>
                        <a:pt x="57" y="233"/>
                        <a:pt x="50" y="195"/>
                      </a:cubicBezTo>
                      <a:moveTo>
                        <a:pt x="29" y="98"/>
                      </a:moveTo>
                      <a:cubicBezTo>
                        <a:pt x="27" y="98"/>
                        <a:pt x="27" y="98"/>
                        <a:pt x="27" y="98"/>
                      </a:cubicBezTo>
                      <a:cubicBezTo>
                        <a:pt x="34" y="127"/>
                        <a:pt x="42" y="160"/>
                        <a:pt x="48" y="194"/>
                      </a:cubicBezTo>
                      <a:cubicBezTo>
                        <a:pt x="50" y="194"/>
                        <a:pt x="50" y="194"/>
                        <a:pt x="50" y="194"/>
                      </a:cubicBezTo>
                      <a:cubicBezTo>
                        <a:pt x="44" y="160"/>
                        <a:pt x="36" y="127"/>
                        <a:pt x="29" y="98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1" y="3"/>
                        <a:pt x="2" y="9"/>
                      </a:cubicBezTo>
                      <a:cubicBezTo>
                        <a:pt x="5" y="19"/>
                        <a:pt x="12" y="40"/>
                        <a:pt x="19" y="66"/>
                      </a:cubicBezTo>
                      <a:cubicBezTo>
                        <a:pt x="21" y="66"/>
                        <a:pt x="21" y="66"/>
                        <a:pt x="21" y="66"/>
                      </a:cubicBezTo>
                      <a:cubicBezTo>
                        <a:pt x="21" y="67"/>
                        <a:pt x="21" y="67"/>
                        <a:pt x="21" y="67"/>
                      </a:cubicBezTo>
                      <a:cubicBezTo>
                        <a:pt x="19" y="67"/>
                        <a:pt x="19" y="67"/>
                        <a:pt x="19" y="67"/>
                      </a:cubicBezTo>
                      <a:cubicBezTo>
                        <a:pt x="21" y="77"/>
                        <a:pt x="24" y="87"/>
                        <a:pt x="27" y="97"/>
                      </a:cubicBezTo>
                      <a:cubicBezTo>
                        <a:pt x="29" y="97"/>
                        <a:pt x="29" y="97"/>
                        <a:pt x="29" y="97"/>
                      </a:cubicBezTo>
                      <a:cubicBezTo>
                        <a:pt x="15" y="41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6" name="Freeform 176"/>
                <p:cNvSpPr>
                  <a:spLocks/>
                </p:cNvSpPr>
                <p:nvPr/>
              </p:nvSpPr>
              <p:spPr bwMode="auto">
                <a:xfrm>
                  <a:off x="-3097" y="1754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7" name="Freeform 177"/>
                <p:cNvSpPr>
                  <a:spLocks/>
                </p:cNvSpPr>
                <p:nvPr/>
              </p:nvSpPr>
              <p:spPr bwMode="auto">
                <a:xfrm>
                  <a:off x="-3116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8" name="Line 178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09" name="Line 179"/>
                <p:cNvSpPr>
                  <a:spLocks noChangeShapeType="1"/>
                </p:cNvSpPr>
                <p:nvPr/>
              </p:nvSpPr>
              <p:spPr bwMode="auto">
                <a:xfrm>
                  <a:off x="-3111" y="1681"/>
                  <a:ext cx="1" cy="1"/>
                </a:xfrm>
                <a:prstGeom prst="line">
                  <a:avLst/>
                </a:prstGeom>
                <a:noFill/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0" name="Freeform 180"/>
                <p:cNvSpPr>
                  <a:spLocks noEditPoints="1"/>
                </p:cNvSpPr>
                <p:nvPr/>
              </p:nvSpPr>
              <p:spPr bwMode="auto">
                <a:xfrm>
                  <a:off x="-3014" y="2259"/>
                  <a:ext cx="92" cy="1017"/>
                </a:xfrm>
                <a:custGeom>
                  <a:avLst/>
                  <a:gdLst/>
                  <a:ahLst/>
                  <a:cxnLst>
                    <a:cxn ang="0">
                      <a:pos x="26" y="343"/>
                    </a:cxn>
                    <a:cxn ang="0">
                      <a:pos x="24" y="343"/>
                    </a:cxn>
                    <a:cxn ang="0">
                      <a:pos x="37" y="429"/>
                    </a:cxn>
                    <a:cxn ang="0">
                      <a:pos x="39" y="429"/>
                    </a:cxn>
                    <a:cxn ang="0">
                      <a:pos x="30" y="378"/>
                    </a:cxn>
                    <a:cxn ang="0">
                      <a:pos x="26" y="345"/>
                    </a:cxn>
                    <a:cxn ang="0">
                      <a:pos x="26" y="343"/>
                    </a:cxn>
                    <a:cxn ang="0">
                      <a:pos x="13" y="255"/>
                    </a:cxn>
                    <a:cxn ang="0">
                      <a:pos x="11" y="255"/>
                    </a:cxn>
                    <a:cxn ang="0">
                      <a:pos x="23" y="333"/>
                    </a:cxn>
                    <a:cxn ang="0">
                      <a:pos x="23" y="333"/>
                    </a:cxn>
                    <a:cxn ang="0">
                      <a:pos x="24" y="342"/>
                    </a:cxn>
                    <a:cxn ang="0">
                      <a:pos x="26" y="342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25" y="333"/>
                    </a:cxn>
                    <a:cxn ang="0">
                      <a:pos x="13" y="255"/>
                    </a:cxn>
                    <a:cxn ang="0">
                      <a:pos x="10" y="233"/>
                    </a:cxn>
                    <a:cxn ang="0">
                      <a:pos x="8" y="233"/>
                    </a:cxn>
                    <a:cxn ang="0">
                      <a:pos x="11" y="254"/>
                    </a:cxn>
                    <a:cxn ang="0">
                      <a:pos x="13" y="254"/>
                    </a:cxn>
                    <a:cxn ang="0">
                      <a:pos x="10" y="233"/>
                    </a:cxn>
                    <a:cxn ang="0">
                      <a:pos x="4" y="102"/>
                    </a:cxn>
                    <a:cxn ang="0">
                      <a:pos x="2" y="102"/>
                    </a:cxn>
                    <a:cxn ang="0">
                      <a:pos x="2" y="113"/>
                    </a:cxn>
                    <a:cxn ang="0">
                      <a:pos x="2" y="132"/>
                    </a:cxn>
                    <a:cxn ang="0">
                      <a:pos x="8" y="232"/>
                    </a:cxn>
                    <a:cxn ang="0">
                      <a:pos x="10" y="232"/>
                    </a:cxn>
                    <a:cxn ang="0">
                      <a:pos x="4" y="132"/>
                    </a:cxn>
                    <a:cxn ang="0">
                      <a:pos x="4" y="118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13"/>
                    </a:cxn>
                    <a:cxn ang="0">
                      <a:pos x="4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0" y="5"/>
                    </a:cxn>
                    <a:cxn ang="0">
                      <a:pos x="2" y="101"/>
                    </a:cxn>
                    <a:cxn ang="0">
                      <a:pos x="4" y="101"/>
                    </a:cxn>
                    <a:cxn ang="0">
                      <a:pos x="2" y="5"/>
                    </a:cxn>
                    <a:cxn ang="0">
                      <a:pos x="2" y="5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9" h="429">
                      <a:moveTo>
                        <a:pt x="26" y="343"/>
                      </a:moveTo>
                      <a:cubicBezTo>
                        <a:pt x="24" y="343"/>
                        <a:pt x="24" y="343"/>
                        <a:pt x="24" y="343"/>
                      </a:cubicBezTo>
                      <a:cubicBezTo>
                        <a:pt x="26" y="358"/>
                        <a:pt x="29" y="390"/>
                        <a:pt x="37" y="429"/>
                      </a:cubicBezTo>
                      <a:cubicBezTo>
                        <a:pt x="39" y="429"/>
                        <a:pt x="39" y="429"/>
                        <a:pt x="39" y="429"/>
                      </a:cubicBezTo>
                      <a:cubicBezTo>
                        <a:pt x="35" y="410"/>
                        <a:pt x="32" y="393"/>
                        <a:pt x="30" y="378"/>
                      </a:cubicBezTo>
                      <a:cubicBezTo>
                        <a:pt x="28" y="364"/>
                        <a:pt x="27" y="353"/>
                        <a:pt x="26" y="345"/>
                      </a:cubicBezTo>
                      <a:cubicBezTo>
                        <a:pt x="26" y="344"/>
                        <a:pt x="26" y="344"/>
                        <a:pt x="26" y="343"/>
                      </a:cubicBezTo>
                      <a:moveTo>
                        <a:pt x="13" y="255"/>
                      </a:moveTo>
                      <a:cubicBezTo>
                        <a:pt x="11" y="255"/>
                        <a:pt x="11" y="255"/>
                        <a:pt x="11" y="255"/>
                      </a:cubicBezTo>
                      <a:cubicBezTo>
                        <a:pt x="14" y="279"/>
                        <a:pt x="18" y="305"/>
                        <a:pt x="23" y="333"/>
                      </a:cubicBezTo>
                      <a:cubicBezTo>
                        <a:pt x="23" y="333"/>
                        <a:pt x="23" y="333"/>
                        <a:pt x="23" y="333"/>
                      </a:cubicBezTo>
                      <a:cubicBezTo>
                        <a:pt x="23" y="334"/>
                        <a:pt x="24" y="337"/>
                        <a:pt x="24" y="342"/>
                      </a:cubicBezTo>
                      <a:cubicBezTo>
                        <a:pt x="26" y="342"/>
                        <a:pt x="26" y="342"/>
                        <a:pt x="26" y="342"/>
                      </a:cubicBezTo>
                      <a:cubicBezTo>
                        <a:pt x="25" y="336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5" y="333"/>
                        <a:pt x="25" y="333"/>
                        <a:pt x="25" y="333"/>
                      </a:cubicBezTo>
                      <a:cubicBezTo>
                        <a:pt x="20" y="305"/>
                        <a:pt x="16" y="279"/>
                        <a:pt x="13" y="255"/>
                      </a:cubicBezTo>
                      <a:moveTo>
                        <a:pt x="10" y="233"/>
                      </a:moveTo>
                      <a:cubicBezTo>
                        <a:pt x="8" y="233"/>
                        <a:pt x="8" y="233"/>
                        <a:pt x="8" y="233"/>
                      </a:cubicBezTo>
                      <a:cubicBezTo>
                        <a:pt x="9" y="240"/>
                        <a:pt x="10" y="247"/>
                        <a:pt x="11" y="254"/>
                      </a:cubicBezTo>
                      <a:cubicBezTo>
                        <a:pt x="13" y="254"/>
                        <a:pt x="13" y="254"/>
                        <a:pt x="13" y="254"/>
                      </a:cubicBezTo>
                      <a:cubicBezTo>
                        <a:pt x="12" y="247"/>
                        <a:pt x="11" y="240"/>
                        <a:pt x="10" y="233"/>
                      </a:cubicBezTo>
                      <a:moveTo>
                        <a:pt x="4" y="102"/>
                      </a:moveTo>
                      <a:cubicBezTo>
                        <a:pt x="2" y="102"/>
                        <a:pt x="2" y="102"/>
                        <a:pt x="2" y="102"/>
                      </a:cubicBezTo>
                      <a:cubicBezTo>
                        <a:pt x="2" y="105"/>
                        <a:pt x="2" y="109"/>
                        <a:pt x="2" y="113"/>
                      </a:cubicBezTo>
                      <a:cubicBezTo>
                        <a:pt x="2" y="113"/>
                        <a:pt x="2" y="120"/>
                        <a:pt x="2" y="132"/>
                      </a:cubicBezTo>
                      <a:cubicBezTo>
                        <a:pt x="2" y="152"/>
                        <a:pt x="3" y="186"/>
                        <a:pt x="8" y="232"/>
                      </a:cubicBezTo>
                      <a:cubicBezTo>
                        <a:pt x="10" y="232"/>
                        <a:pt x="10" y="232"/>
                        <a:pt x="10" y="232"/>
                      </a:cubicBezTo>
                      <a:cubicBezTo>
                        <a:pt x="5" y="186"/>
                        <a:pt x="4" y="152"/>
                        <a:pt x="4" y="132"/>
                      </a:cubicBezTo>
                      <a:cubicBezTo>
                        <a:pt x="4" y="126"/>
                        <a:pt x="4" y="121"/>
                        <a:pt x="4" y="118"/>
                      </a:cubicBezTo>
                      <a:cubicBezTo>
                        <a:pt x="4" y="115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13"/>
                        <a:pt x="4" y="113"/>
                        <a:pt x="4" y="113"/>
                      </a:cubicBezTo>
                      <a:cubicBezTo>
                        <a:pt x="4" y="109"/>
                        <a:pt x="4" y="106"/>
                        <a:pt x="4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5"/>
                        <a:pt x="0" y="5"/>
                        <a:pt x="0" y="5"/>
                      </a:cubicBezTo>
                      <a:cubicBezTo>
                        <a:pt x="0" y="6"/>
                        <a:pt x="1" y="19"/>
                        <a:pt x="2" y="101"/>
                      </a:cubicBezTo>
                      <a:cubicBezTo>
                        <a:pt x="4" y="101"/>
                        <a:pt x="4" y="101"/>
                        <a:pt x="4" y="101"/>
                      </a:cubicBezTo>
                      <a:cubicBezTo>
                        <a:pt x="3" y="13"/>
                        <a:pt x="2" y="5"/>
                        <a:pt x="2" y="5"/>
                      </a:cubicBezTo>
                      <a:cubicBezTo>
                        <a:pt x="2" y="5"/>
                        <a:pt x="2" y="5"/>
                        <a:pt x="2" y="5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1" name="Freeform 181"/>
                <p:cNvSpPr>
                  <a:spLocks/>
                </p:cNvSpPr>
                <p:nvPr/>
              </p:nvSpPr>
              <p:spPr bwMode="auto">
                <a:xfrm>
                  <a:off x="-2957" y="3069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2" name="Freeform 182"/>
                <p:cNvSpPr>
                  <a:spLocks/>
                </p:cNvSpPr>
                <p:nvPr/>
              </p:nvSpPr>
              <p:spPr bwMode="auto">
                <a:xfrm>
                  <a:off x="-2988" y="286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3" name="Freeform 183"/>
                <p:cNvSpPr>
                  <a:spLocks/>
                </p:cNvSpPr>
                <p:nvPr/>
              </p:nvSpPr>
              <p:spPr bwMode="auto">
                <a:xfrm>
                  <a:off x="-2926" y="3278"/>
                  <a:ext cx="23" cy="76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8" y="32"/>
                    </a:cxn>
                    <a:cxn ang="0">
                      <a:pos x="10" y="32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0" h="32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10"/>
                        <a:pt x="5" y="21"/>
                        <a:pt x="8" y="32"/>
                      </a:cubicBezTo>
                      <a:cubicBezTo>
                        <a:pt x="10" y="32"/>
                        <a:pt x="10" y="32"/>
                        <a:pt x="10" y="32"/>
                      </a:cubicBezTo>
                      <a:cubicBezTo>
                        <a:pt x="7" y="21"/>
                        <a:pt x="5" y="1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4" name="Freeform 184"/>
                <p:cNvSpPr>
                  <a:spLocks/>
                </p:cNvSpPr>
                <p:nvPr/>
              </p:nvSpPr>
              <p:spPr bwMode="auto">
                <a:xfrm>
                  <a:off x="-2995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5" name="Freeform 185"/>
                <p:cNvSpPr>
                  <a:spLocks/>
                </p:cNvSpPr>
                <p:nvPr/>
              </p:nvSpPr>
              <p:spPr bwMode="auto">
                <a:xfrm>
                  <a:off x="-2926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6" name="Freeform 186"/>
                <p:cNvSpPr>
                  <a:spLocks/>
                </p:cNvSpPr>
                <p:nvPr/>
              </p:nvSpPr>
              <p:spPr bwMode="auto">
                <a:xfrm>
                  <a:off x="-2907" y="3356"/>
                  <a:ext cx="19" cy="57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6" y="24"/>
                    </a:cxn>
                    <a:cxn ang="0">
                      <a:pos x="8" y="2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8" h="2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2" y="8"/>
                        <a:pt x="4" y="16"/>
                        <a:pt x="6" y="24"/>
                      </a:cubicBezTo>
                      <a:cubicBezTo>
                        <a:pt x="8" y="24"/>
                        <a:pt x="8" y="24"/>
                        <a:pt x="8" y="24"/>
                      </a:cubicBezTo>
                      <a:cubicBezTo>
                        <a:pt x="6" y="16"/>
                        <a:pt x="4" y="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7" name="Freeform 187"/>
                <p:cNvSpPr>
                  <a:spLocks/>
                </p:cNvSpPr>
                <p:nvPr/>
              </p:nvSpPr>
              <p:spPr bwMode="auto">
                <a:xfrm>
                  <a:off x="-2907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1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8" name="Freeform 188"/>
                <p:cNvSpPr>
                  <a:spLocks/>
                </p:cNvSpPr>
                <p:nvPr/>
              </p:nvSpPr>
              <p:spPr bwMode="auto">
                <a:xfrm>
                  <a:off x="-3009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19" name="Freeform 189"/>
                <p:cNvSpPr>
                  <a:spLocks/>
                </p:cNvSpPr>
                <p:nvPr/>
              </p:nvSpPr>
              <p:spPr bwMode="auto">
                <a:xfrm>
                  <a:off x="-3014" y="2256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0" name="Freeform 190"/>
                <p:cNvSpPr>
                  <a:spLocks/>
                </p:cNvSpPr>
                <p:nvPr/>
              </p:nvSpPr>
              <p:spPr bwMode="auto">
                <a:xfrm>
                  <a:off x="-2903" y="1986"/>
                  <a:ext cx="83" cy="270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5"/>
                    </a:cxn>
                    <a:cxn ang="0">
                      <a:pos x="1" y="5"/>
                    </a:cxn>
                    <a:cxn ang="0">
                      <a:pos x="1" y="5"/>
                    </a:cxn>
                    <a:cxn ang="0">
                      <a:pos x="2" y="8"/>
                    </a:cxn>
                    <a:cxn ang="0">
                      <a:pos x="33" y="114"/>
                    </a:cxn>
                    <a:cxn ang="0">
                      <a:pos x="35" y="114"/>
                    </a:cxn>
                    <a:cxn ang="0">
                      <a:pos x="32" y="101"/>
                    </a:cxn>
                    <a:cxn ang="0">
                      <a:pos x="30" y="101"/>
                    </a:cxn>
                    <a:cxn ang="0">
                      <a:pos x="30" y="100"/>
                    </a:cxn>
                    <a:cxn ang="0">
                      <a:pos x="32" y="100"/>
                    </a:cxn>
                    <a:cxn ang="0">
                      <a:pos x="2" y="4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5" h="114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3"/>
                        <a:pt x="0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5"/>
                        <a:pt x="1" y="5"/>
                      </a:cubicBezTo>
                      <a:cubicBezTo>
                        <a:pt x="1" y="5"/>
                        <a:pt x="1" y="6"/>
                        <a:pt x="2" y="8"/>
                      </a:cubicBezTo>
                      <a:cubicBezTo>
                        <a:pt x="7" y="20"/>
                        <a:pt x="23" y="60"/>
                        <a:pt x="33" y="114"/>
                      </a:cubicBezTo>
                      <a:cubicBezTo>
                        <a:pt x="35" y="114"/>
                        <a:pt x="35" y="114"/>
                        <a:pt x="35" y="114"/>
                      </a:cubicBezTo>
                      <a:cubicBezTo>
                        <a:pt x="34" y="109"/>
                        <a:pt x="33" y="105"/>
                        <a:pt x="32" y="101"/>
                      </a:cubicBezTo>
                      <a:cubicBezTo>
                        <a:pt x="30" y="101"/>
                        <a:pt x="30" y="101"/>
                        <a:pt x="30" y="101"/>
                      </a:cubicBezTo>
                      <a:cubicBezTo>
                        <a:pt x="30" y="100"/>
                        <a:pt x="30" y="100"/>
                        <a:pt x="30" y="100"/>
                      </a:cubicBezTo>
                      <a:cubicBezTo>
                        <a:pt x="32" y="100"/>
                        <a:pt x="32" y="100"/>
                        <a:pt x="32" y="100"/>
                      </a:cubicBezTo>
                      <a:cubicBezTo>
                        <a:pt x="20" y="45"/>
                        <a:pt x="3" y="7"/>
                        <a:pt x="2" y="4"/>
                      </a:cubicBezTo>
                      <a:cubicBezTo>
                        <a:pt x="2" y="3"/>
                        <a:pt x="2" y="1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1" name="Freeform 191"/>
                <p:cNvSpPr>
                  <a:spLocks/>
                </p:cNvSpPr>
                <p:nvPr/>
              </p:nvSpPr>
              <p:spPr bwMode="auto">
                <a:xfrm>
                  <a:off x="-2832" y="2223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2" name="Freeform 192"/>
                <p:cNvSpPr>
                  <a:spLocks noEditPoints="1"/>
                </p:cNvSpPr>
                <p:nvPr/>
              </p:nvSpPr>
              <p:spPr bwMode="auto">
                <a:xfrm>
                  <a:off x="-3113" y="1522"/>
                  <a:ext cx="215" cy="462"/>
                </a:xfrm>
                <a:custGeom>
                  <a:avLst/>
                  <a:gdLst/>
                  <a:ahLst/>
                  <a:cxnLst>
                    <a:cxn ang="0">
                      <a:pos x="67" y="99"/>
                    </a:cxn>
                    <a:cxn ang="0">
                      <a:pos x="65" y="99"/>
                    </a:cxn>
                    <a:cxn ang="0">
                      <a:pos x="89" y="195"/>
                    </a:cxn>
                    <a:cxn ang="0">
                      <a:pos x="91" y="195"/>
                    </a:cxn>
                    <a:cxn ang="0">
                      <a:pos x="67" y="99"/>
                    </a:cxn>
                    <a:cxn ang="0">
                      <a:pos x="53" y="68"/>
                    </a:cxn>
                    <a:cxn ang="0">
                      <a:pos x="53" y="68"/>
                    </a:cxn>
                    <a:cxn ang="0">
                      <a:pos x="51" y="68"/>
                    </a:cxn>
                    <a:cxn ang="0">
                      <a:pos x="64" y="98"/>
                    </a:cxn>
                    <a:cxn ang="0">
                      <a:pos x="66" y="98"/>
                    </a:cxn>
                    <a:cxn ang="0">
                      <a:pos x="53" y="68"/>
                    </a:cxn>
                    <a:cxn ang="0">
                      <a:pos x="2" y="0"/>
                    </a:cxn>
                    <a:cxn ang="0">
                      <a:pos x="1" y="0"/>
                    </a:cxn>
                    <a:cxn ang="0">
                      <a:pos x="0" y="1"/>
                    </a:cxn>
                    <a:cxn ang="0">
                      <a:pos x="1" y="2"/>
                    </a:cxn>
                    <a:cxn ang="0">
                      <a:pos x="50" y="67"/>
                    </a:cxn>
                    <a:cxn ang="0">
                      <a:pos x="52" y="67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91" h="195">
                      <a:moveTo>
                        <a:pt x="67" y="99"/>
                      </a:moveTo>
                      <a:cubicBezTo>
                        <a:pt x="65" y="99"/>
                        <a:pt x="65" y="99"/>
                        <a:pt x="65" y="99"/>
                      </a:cubicBezTo>
                      <a:cubicBezTo>
                        <a:pt x="75" y="125"/>
                        <a:pt x="84" y="157"/>
                        <a:pt x="89" y="195"/>
                      </a:cubicBezTo>
                      <a:cubicBezTo>
                        <a:pt x="91" y="195"/>
                        <a:pt x="91" y="195"/>
                        <a:pt x="91" y="195"/>
                      </a:cubicBezTo>
                      <a:cubicBezTo>
                        <a:pt x="86" y="157"/>
                        <a:pt x="77" y="125"/>
                        <a:pt x="67" y="99"/>
                      </a:cubicBezTo>
                      <a:moveTo>
                        <a:pt x="53" y="68"/>
                      </a:moveTo>
                      <a:cubicBezTo>
                        <a:pt x="53" y="68"/>
                        <a:pt x="53" y="68"/>
                        <a:pt x="53" y="68"/>
                      </a:cubicBezTo>
                      <a:cubicBezTo>
                        <a:pt x="51" y="68"/>
                        <a:pt x="51" y="68"/>
                        <a:pt x="51" y="68"/>
                      </a:cubicBezTo>
                      <a:cubicBezTo>
                        <a:pt x="55" y="77"/>
                        <a:pt x="60" y="87"/>
                        <a:pt x="64" y="98"/>
                      </a:cubicBezTo>
                      <a:cubicBezTo>
                        <a:pt x="66" y="98"/>
                        <a:pt x="66" y="98"/>
                        <a:pt x="66" y="98"/>
                      </a:cubicBezTo>
                      <a:cubicBezTo>
                        <a:pt x="62" y="87"/>
                        <a:pt x="57" y="77"/>
                        <a:pt x="53" y="68"/>
                      </a:cubicBezTo>
                      <a:moveTo>
                        <a:pt x="2" y="0"/>
                      </a:moveTo>
                      <a:cubicBezTo>
                        <a:pt x="1" y="0"/>
                        <a:pt x="1" y="0"/>
                        <a:pt x="1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1" y="2"/>
                        <a:pt x="1" y="2"/>
                        <a:pt x="1" y="2"/>
                      </a:cubicBezTo>
                      <a:cubicBezTo>
                        <a:pt x="6" y="6"/>
                        <a:pt x="28" y="26"/>
                        <a:pt x="50" y="67"/>
                      </a:cubicBezTo>
                      <a:cubicBezTo>
                        <a:pt x="52" y="67"/>
                        <a:pt x="52" y="67"/>
                        <a:pt x="52" y="67"/>
                      </a:cubicBezTo>
                      <a:cubicBezTo>
                        <a:pt x="30" y="24"/>
                        <a:pt x="6" y="3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3" name="Freeform 193"/>
                <p:cNvSpPr>
                  <a:spLocks/>
                </p:cNvSpPr>
                <p:nvPr/>
              </p:nvSpPr>
              <p:spPr bwMode="auto">
                <a:xfrm>
                  <a:off x="-2962" y="1754"/>
                  <a:ext cx="7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  <a:cxn ang="0">
                      <a:pos x="3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3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1"/>
                        <a:pt x="1" y="1"/>
                      </a:cubicBezTo>
                      <a:cubicBezTo>
                        <a:pt x="3" y="1"/>
                        <a:pt x="3" y="1"/>
                        <a:pt x="3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4" name="Freeform 194"/>
                <p:cNvSpPr>
                  <a:spLocks/>
                </p:cNvSpPr>
                <p:nvPr/>
              </p:nvSpPr>
              <p:spPr bwMode="auto">
                <a:xfrm>
                  <a:off x="-2990" y="1681"/>
                  <a:ext cx="2" cy="2"/>
                </a:xfrm>
                <a:custGeom>
                  <a:avLst/>
                  <a:gdLst/>
                  <a:ahLst/>
                  <a:cxnLst>
                    <a:cxn ang="0">
                      <a:pos x="1" y="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cubicBezTo>
                        <a:pt x="1" y="1"/>
                        <a:pt x="0" y="1"/>
                        <a:pt x="0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5" name="Freeform 195"/>
                <p:cNvSpPr>
                  <a:spLocks/>
                </p:cNvSpPr>
                <p:nvPr/>
              </p:nvSpPr>
              <p:spPr bwMode="auto">
                <a:xfrm>
                  <a:off x="-2995" y="1681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1" y="1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1" y="1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6" name="Freeform 196"/>
                <p:cNvSpPr>
                  <a:spLocks noEditPoints="1"/>
                </p:cNvSpPr>
                <p:nvPr/>
              </p:nvSpPr>
              <p:spPr bwMode="auto">
                <a:xfrm>
                  <a:off x="-2824" y="2259"/>
                  <a:ext cx="26" cy="1017"/>
                </a:xfrm>
                <a:custGeom>
                  <a:avLst/>
                  <a:gdLst/>
                  <a:ahLst/>
                  <a:cxnLst>
                    <a:cxn ang="0">
                      <a:pos x="8" y="343"/>
                    </a:cxn>
                    <a:cxn ang="0">
                      <a:pos x="6" y="343"/>
                    </a:cxn>
                    <a:cxn ang="0">
                      <a:pos x="6" y="429"/>
                    </a:cxn>
                    <a:cxn ang="0">
                      <a:pos x="8" y="429"/>
                    </a:cxn>
                    <a:cxn ang="0">
                      <a:pos x="8" y="343"/>
                    </a:cxn>
                    <a:cxn ang="0">
                      <a:pos x="11" y="233"/>
                    </a:cxn>
                    <a:cxn ang="0">
                      <a:pos x="9" y="233"/>
                    </a:cxn>
                    <a:cxn ang="0">
                      <a:pos x="5" y="333"/>
                    </a:cxn>
                    <a:cxn ang="0">
                      <a:pos x="6" y="342"/>
                    </a:cxn>
                    <a:cxn ang="0">
                      <a:pos x="8" y="342"/>
                    </a:cxn>
                    <a:cxn ang="0">
                      <a:pos x="8" y="333"/>
                    </a:cxn>
                    <a:cxn ang="0">
                      <a:pos x="11" y="233"/>
                    </a:cxn>
                    <a:cxn ang="0">
                      <a:pos x="10" y="102"/>
                    </a:cxn>
                    <a:cxn ang="0">
                      <a:pos x="8" y="102"/>
                    </a:cxn>
                    <a:cxn ang="0">
                      <a:pos x="9" y="178"/>
                    </a:cxn>
                    <a:cxn ang="0">
                      <a:pos x="9" y="232"/>
                    </a:cxn>
                    <a:cxn ang="0">
                      <a:pos x="11" y="232"/>
                    </a:cxn>
                    <a:cxn ang="0">
                      <a:pos x="11" y="178"/>
                    </a:cxn>
                    <a:cxn ang="0">
                      <a:pos x="10" y="102"/>
                    </a:cxn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7" y="60"/>
                    </a:cxn>
                    <a:cxn ang="0">
                      <a:pos x="7" y="69"/>
                    </a:cxn>
                    <a:cxn ang="0">
                      <a:pos x="8" y="101"/>
                    </a:cxn>
                    <a:cxn ang="0">
                      <a:pos x="10" y="101"/>
                    </a:cxn>
                    <a:cxn ang="0">
                      <a:pos x="9" y="60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11" h="429">
                      <a:moveTo>
                        <a:pt x="8" y="343"/>
                      </a:moveTo>
                      <a:cubicBezTo>
                        <a:pt x="6" y="343"/>
                        <a:pt x="6" y="343"/>
                        <a:pt x="6" y="343"/>
                      </a:cubicBezTo>
                      <a:cubicBezTo>
                        <a:pt x="6" y="429"/>
                        <a:pt x="6" y="429"/>
                        <a:pt x="6" y="429"/>
                      </a:cubicBezTo>
                      <a:cubicBezTo>
                        <a:pt x="8" y="429"/>
                        <a:pt x="8" y="429"/>
                        <a:pt x="8" y="429"/>
                      </a:cubicBezTo>
                      <a:cubicBezTo>
                        <a:pt x="8" y="343"/>
                        <a:pt x="8" y="343"/>
                        <a:pt x="8" y="343"/>
                      </a:cubicBezTo>
                      <a:moveTo>
                        <a:pt x="11" y="233"/>
                      </a:moveTo>
                      <a:cubicBezTo>
                        <a:pt x="9" y="233"/>
                        <a:pt x="9" y="233"/>
                        <a:pt x="9" y="233"/>
                      </a:cubicBezTo>
                      <a:cubicBezTo>
                        <a:pt x="8" y="264"/>
                        <a:pt x="7" y="298"/>
                        <a:pt x="5" y="333"/>
                      </a:cubicBezTo>
                      <a:cubicBezTo>
                        <a:pt x="6" y="342"/>
                        <a:pt x="6" y="342"/>
                        <a:pt x="6" y="342"/>
                      </a:cubicBezTo>
                      <a:cubicBezTo>
                        <a:pt x="8" y="342"/>
                        <a:pt x="8" y="342"/>
                        <a:pt x="8" y="342"/>
                      </a:cubicBezTo>
                      <a:cubicBezTo>
                        <a:pt x="8" y="333"/>
                        <a:pt x="8" y="333"/>
                        <a:pt x="8" y="333"/>
                      </a:cubicBezTo>
                      <a:cubicBezTo>
                        <a:pt x="9" y="298"/>
                        <a:pt x="10" y="264"/>
                        <a:pt x="11" y="233"/>
                      </a:cubicBezTo>
                      <a:moveTo>
                        <a:pt x="10" y="102"/>
                      </a:moveTo>
                      <a:cubicBezTo>
                        <a:pt x="8" y="102"/>
                        <a:pt x="8" y="102"/>
                        <a:pt x="8" y="102"/>
                      </a:cubicBezTo>
                      <a:cubicBezTo>
                        <a:pt x="9" y="122"/>
                        <a:pt x="9" y="147"/>
                        <a:pt x="9" y="178"/>
                      </a:cubicBezTo>
                      <a:cubicBezTo>
                        <a:pt x="9" y="195"/>
                        <a:pt x="9" y="213"/>
                        <a:pt x="9" y="232"/>
                      </a:cubicBezTo>
                      <a:cubicBezTo>
                        <a:pt x="11" y="232"/>
                        <a:pt x="11" y="232"/>
                        <a:pt x="11" y="232"/>
                      </a:cubicBezTo>
                      <a:cubicBezTo>
                        <a:pt x="11" y="213"/>
                        <a:pt x="11" y="195"/>
                        <a:pt x="11" y="178"/>
                      </a:cubicBezTo>
                      <a:cubicBezTo>
                        <a:pt x="11" y="147"/>
                        <a:pt x="11" y="122"/>
                        <a:pt x="10" y="102"/>
                      </a:cubicBezTo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3" y="18"/>
                        <a:pt x="6" y="39"/>
                        <a:pt x="7" y="60"/>
                      </a:cubicBezTo>
                      <a:cubicBezTo>
                        <a:pt x="7" y="60"/>
                        <a:pt x="7" y="63"/>
                        <a:pt x="7" y="69"/>
                      </a:cubicBezTo>
                      <a:cubicBezTo>
                        <a:pt x="8" y="76"/>
                        <a:pt x="8" y="87"/>
                        <a:pt x="8" y="101"/>
                      </a:cubicBezTo>
                      <a:cubicBezTo>
                        <a:pt x="10" y="101"/>
                        <a:pt x="10" y="101"/>
                        <a:pt x="10" y="101"/>
                      </a:cubicBezTo>
                      <a:cubicBezTo>
                        <a:pt x="10" y="75"/>
                        <a:pt x="9" y="60"/>
                        <a:pt x="9" y="60"/>
                      </a:cubicBezTo>
                      <a:cubicBezTo>
                        <a:pt x="8" y="39"/>
                        <a:pt x="5" y="18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7" name="Freeform 197"/>
                <p:cNvSpPr>
                  <a:spLocks/>
                </p:cNvSpPr>
                <p:nvPr/>
              </p:nvSpPr>
              <p:spPr bwMode="auto">
                <a:xfrm>
                  <a:off x="-2810" y="3069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3"/>
                    </a:cxn>
                    <a:cxn ang="0">
                      <a:pos x="4" y="3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8" name="Freeform 198"/>
                <p:cNvSpPr>
                  <a:spLocks/>
                </p:cNvSpPr>
                <p:nvPr/>
              </p:nvSpPr>
              <p:spPr bwMode="auto">
                <a:xfrm>
                  <a:off x="-2810" y="3278"/>
                  <a:ext cx="4" cy="76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6"/>
                    </a:cxn>
                    <a:cxn ang="0">
                      <a:pos x="4" y="76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6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6"/>
                      </a:lnTo>
                      <a:lnTo>
                        <a:pt x="4" y="76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29" name="Freeform 199"/>
                <p:cNvSpPr>
                  <a:spLocks/>
                </p:cNvSpPr>
                <p:nvPr/>
              </p:nvSpPr>
              <p:spPr bwMode="auto">
                <a:xfrm>
                  <a:off x="-2803" y="2809"/>
                  <a:ext cx="5" cy="2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30" name="Freeform 200"/>
                <p:cNvSpPr>
                  <a:spLocks/>
                </p:cNvSpPr>
                <p:nvPr/>
              </p:nvSpPr>
              <p:spPr bwMode="auto">
                <a:xfrm>
                  <a:off x="-2810" y="3276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31" name="Freeform 201"/>
                <p:cNvSpPr>
                  <a:spLocks/>
                </p:cNvSpPr>
                <p:nvPr/>
              </p:nvSpPr>
              <p:spPr bwMode="auto">
                <a:xfrm>
                  <a:off x="-2810" y="3356"/>
                  <a:ext cx="4" cy="71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71"/>
                    </a:cxn>
                    <a:cxn ang="0">
                      <a:pos x="4" y="71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7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71"/>
                      </a:lnTo>
                      <a:lnTo>
                        <a:pt x="4" y="71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32" name="Freeform 202"/>
                <p:cNvSpPr>
                  <a:spLocks/>
                </p:cNvSpPr>
                <p:nvPr/>
              </p:nvSpPr>
              <p:spPr bwMode="auto">
                <a:xfrm>
                  <a:off x="-2810" y="3354"/>
                  <a:ext cx="4" cy="2"/>
                </a:xfrm>
                <a:custGeom>
                  <a:avLst/>
                  <a:gdLst/>
                  <a:ahLst/>
                  <a:cxnLst>
                    <a:cxn ang="0">
                      <a:pos x="4" y="0"/>
                    </a:cxn>
                    <a:cxn ang="0">
                      <a:pos x="0" y="0"/>
                    </a:cxn>
                    <a:cxn ang="0">
                      <a:pos x="0" y="2"/>
                    </a:cxn>
                    <a:cxn ang="0">
                      <a:pos x="4" y="2"/>
                    </a:cxn>
                    <a:cxn ang="0">
                      <a:pos x="4" y="0"/>
                    </a:cxn>
                    <a:cxn ang="0">
                      <a:pos x="4" y="0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4" y="0"/>
                      </a:lnTo>
                      <a:lnTo>
                        <a:pt x="4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33" name="Freeform 203"/>
                <p:cNvSpPr>
                  <a:spLocks/>
                </p:cNvSpPr>
                <p:nvPr/>
              </p:nvSpPr>
              <p:spPr bwMode="auto">
                <a:xfrm>
                  <a:off x="-2806" y="2498"/>
                  <a:ext cx="5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1"/>
                        <a:pt x="0" y="1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  <p:sp>
              <p:nvSpPr>
                <p:cNvPr id="334" name="Freeform 204"/>
                <p:cNvSpPr>
                  <a:spLocks/>
                </p:cNvSpPr>
                <p:nvPr/>
              </p:nvSpPr>
              <p:spPr bwMode="auto">
                <a:xfrm>
                  <a:off x="-2824" y="2256"/>
                  <a:ext cx="4" cy="3"/>
                </a:xfrm>
                <a:custGeom>
                  <a:avLst/>
                  <a:gdLst/>
                  <a:ahLst/>
                  <a:cxnLst>
                    <a:cxn ang="0">
                      <a:pos x="2" y="0"/>
                    </a:cxn>
                    <a:cxn ang="0">
                      <a:pos x="0" y="0"/>
                    </a:cxn>
                    <a:cxn ang="0">
                      <a:pos x="0" y="1"/>
                    </a:cxn>
                    <a:cxn ang="0">
                      <a:pos x="2" y="1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0"/>
                        <a:pt x="0" y="0"/>
                        <a:pt x="0" y="1"/>
                      </a:cubicBezTo>
                      <a:cubicBezTo>
                        <a:pt x="2" y="1"/>
                        <a:pt x="2" y="1"/>
                        <a:pt x="2" y="1"/>
                      </a:cubicBezTo>
                      <a:cubicBezTo>
                        <a:pt x="2" y="0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FFFFFF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defTabSz="957756" fontAlgn="auto">
                    <a:spcBef>
                      <a:spcPts val="0"/>
                    </a:spcBef>
                    <a:spcAft>
                      <a:spcPts val="0"/>
                    </a:spcAft>
                  </a:pPr>
                  <a:endParaRPr lang="en-US" sz="1900" b="0">
                    <a:solidFill>
                      <a:srgbClr val="000000"/>
                    </a:solidFill>
                    <a:latin typeface="Calibri"/>
                    <a:cs typeface="+mn-cs"/>
                  </a:endParaRPr>
                </a:p>
              </p:txBody>
            </p:sp>
          </p:grpSp>
          <p:sp>
            <p:nvSpPr>
              <p:cNvPr id="41" name="Freeform 206"/>
              <p:cNvSpPr>
                <a:spLocks/>
              </p:cNvSpPr>
              <p:nvPr/>
            </p:nvSpPr>
            <p:spPr bwMode="auto">
              <a:xfrm>
                <a:off x="-4870447" y="2416173"/>
                <a:ext cx="349249" cy="368300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91" y="98"/>
                  </a:cxn>
                  <a:cxn ang="0">
                    <a:pos x="93" y="98"/>
                  </a:cxn>
                  <a:cxn ang="0">
                    <a:pos x="71" y="68"/>
                  </a:cxn>
                  <a:cxn ang="0">
                    <a:pos x="70" y="68"/>
                  </a:cxn>
                  <a:cxn ang="0">
                    <a:pos x="70" y="68"/>
                  </a:cxn>
                  <a:cxn ang="0">
                    <a:pos x="0" y="0"/>
                  </a:cxn>
                </a:cxnLst>
                <a:rect l="0" t="0" r="r" b="b"/>
                <a:pathLst>
                  <a:path w="93" h="98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2"/>
                      <a:pt x="1" y="2"/>
                    </a:cubicBezTo>
                    <a:cubicBezTo>
                      <a:pt x="9" y="6"/>
                      <a:pt x="41" y="26"/>
                      <a:pt x="91" y="98"/>
                    </a:cubicBezTo>
                    <a:cubicBezTo>
                      <a:pt x="93" y="98"/>
                      <a:pt x="93" y="98"/>
                      <a:pt x="93" y="98"/>
                    </a:cubicBezTo>
                    <a:cubicBezTo>
                      <a:pt x="85" y="87"/>
                      <a:pt x="77" y="77"/>
                      <a:pt x="71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70" y="68"/>
                      <a:pt x="70" y="68"/>
                      <a:pt x="70" y="68"/>
                    </a:cubicBezTo>
                    <a:cubicBezTo>
                      <a:pt x="26" y="11"/>
                      <a:pt x="0" y="1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2" name="Freeform 207"/>
              <p:cNvSpPr>
                <a:spLocks/>
              </p:cNvSpPr>
              <p:nvPr/>
            </p:nvSpPr>
            <p:spPr bwMode="auto">
              <a:xfrm>
                <a:off x="-4608511" y="2671760"/>
                <a:ext cx="4762" cy="1587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3" name="Freeform 208"/>
              <p:cNvSpPr>
                <a:spLocks/>
              </p:cNvSpPr>
              <p:nvPr/>
            </p:nvSpPr>
            <p:spPr bwMode="auto">
              <a:xfrm>
                <a:off x="-4818061" y="2419348"/>
                <a:ext cx="481013" cy="36512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102" y="66"/>
                  </a:cxn>
                  <a:cxn ang="0">
                    <a:pos x="103" y="66"/>
                  </a:cxn>
                  <a:cxn ang="0">
                    <a:pos x="103" y="67"/>
                  </a:cxn>
                  <a:cxn ang="0">
                    <a:pos x="103" y="67"/>
                  </a:cxn>
                  <a:cxn ang="0">
                    <a:pos x="127" y="97"/>
                  </a:cxn>
                  <a:cxn ang="0">
                    <a:pos x="128" y="97"/>
                  </a:cxn>
                  <a:cxn ang="0">
                    <a:pos x="1" y="0"/>
                  </a:cxn>
                </a:cxnLst>
                <a:rect l="0" t="0" r="r" b="b"/>
                <a:pathLst>
                  <a:path w="128" h="97"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3" y="1"/>
                    </a:cubicBezTo>
                    <a:cubicBezTo>
                      <a:pt x="15" y="4"/>
                      <a:pt x="57" y="19"/>
                      <a:pt x="102" y="66"/>
                    </a:cubicBezTo>
                    <a:cubicBezTo>
                      <a:pt x="103" y="66"/>
                      <a:pt x="103" y="66"/>
                      <a:pt x="103" y="66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03" y="67"/>
                      <a:pt x="103" y="67"/>
                      <a:pt x="103" y="67"/>
                    </a:cubicBezTo>
                    <a:cubicBezTo>
                      <a:pt x="111" y="76"/>
                      <a:pt x="119" y="86"/>
                      <a:pt x="127" y="97"/>
                    </a:cubicBezTo>
                    <a:cubicBezTo>
                      <a:pt x="128" y="97"/>
                      <a:pt x="128" y="97"/>
                      <a:pt x="128" y="97"/>
                    </a:cubicBezTo>
                    <a:cubicBezTo>
                      <a:pt x="68" y="13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4" name="Freeform 209"/>
              <p:cNvSpPr>
                <a:spLocks/>
              </p:cNvSpPr>
              <p:nvPr/>
            </p:nvSpPr>
            <p:spPr bwMode="auto">
              <a:xfrm>
                <a:off x="-4435474" y="2668584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5" name="Freeform 210"/>
              <p:cNvSpPr>
                <a:spLocks noEditPoints="1"/>
              </p:cNvSpPr>
              <p:nvPr/>
            </p:nvSpPr>
            <p:spPr bwMode="auto">
              <a:xfrm>
                <a:off x="-2679699" y="3152772"/>
                <a:ext cx="71438" cy="428625"/>
              </a:xfrm>
              <a:custGeom>
                <a:avLst/>
                <a:gdLst/>
                <a:ahLst/>
                <a:cxnLst>
                  <a:cxn ang="0">
                    <a:pos x="17" y="101"/>
                  </a:cxn>
                  <a:cxn ang="0">
                    <a:pos x="15" y="101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6" y="110"/>
                  </a:cxn>
                  <a:cxn ang="0">
                    <a:pos x="17" y="114"/>
                  </a:cxn>
                  <a:cxn ang="0">
                    <a:pos x="19" y="114"/>
                  </a:cxn>
                  <a:cxn ang="0">
                    <a:pos x="18" y="109"/>
                  </a:cxn>
                  <a:cxn ang="0">
                    <a:pos x="18" y="109"/>
                  </a:cxn>
                  <a:cxn ang="0">
                    <a:pos x="17" y="101"/>
                  </a:cxn>
                  <a:cxn ang="0">
                    <a:pos x="2" y="0"/>
                  </a:cxn>
                  <a:cxn ang="0">
                    <a:pos x="0" y="0"/>
                  </a:cxn>
                  <a:cxn ang="0">
                    <a:pos x="15" y="100"/>
                  </a:cxn>
                  <a:cxn ang="0">
                    <a:pos x="17" y="100"/>
                  </a:cxn>
                  <a:cxn ang="0">
                    <a:pos x="2" y="0"/>
                  </a:cxn>
                </a:cxnLst>
                <a:rect l="0" t="0" r="r" b="b"/>
                <a:pathLst>
                  <a:path w="19" h="114">
                    <a:moveTo>
                      <a:pt x="17" y="101"/>
                    </a:moveTo>
                    <a:cubicBezTo>
                      <a:pt x="15" y="101"/>
                      <a:pt x="15" y="101"/>
                      <a:pt x="15" y="101"/>
                    </a:cubicBezTo>
                    <a:cubicBezTo>
                      <a:pt x="16" y="104"/>
                      <a:pt x="16" y="107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0"/>
                      <a:pt x="16" y="110"/>
                    </a:cubicBezTo>
                    <a:cubicBezTo>
                      <a:pt x="16" y="110"/>
                      <a:pt x="16" y="111"/>
                      <a:pt x="17" y="114"/>
                    </a:cubicBezTo>
                    <a:cubicBezTo>
                      <a:pt x="19" y="114"/>
                      <a:pt x="19" y="114"/>
                      <a:pt x="19" y="114"/>
                    </a:cubicBezTo>
                    <a:cubicBezTo>
                      <a:pt x="18" y="111"/>
                      <a:pt x="18" y="109"/>
                      <a:pt x="18" y="109"/>
                    </a:cubicBezTo>
                    <a:cubicBezTo>
                      <a:pt x="18" y="109"/>
                      <a:pt x="18" y="109"/>
                      <a:pt x="18" y="109"/>
                    </a:cubicBezTo>
                    <a:cubicBezTo>
                      <a:pt x="18" y="106"/>
                      <a:pt x="18" y="104"/>
                      <a:pt x="17" y="101"/>
                    </a:cubicBezTo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6" y="29"/>
                      <a:pt x="11" y="62"/>
                      <a:pt x="15" y="100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13" y="62"/>
                      <a:pt x="8" y="29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6" name="Freeform 211"/>
              <p:cNvSpPr>
                <a:spLocks/>
              </p:cNvSpPr>
              <p:nvPr/>
            </p:nvSpPr>
            <p:spPr bwMode="auto">
              <a:xfrm>
                <a:off x="-2624136" y="3529009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7" name="Freeform 212"/>
              <p:cNvSpPr>
                <a:spLocks noEditPoints="1"/>
              </p:cNvSpPr>
              <p:nvPr/>
            </p:nvSpPr>
            <p:spPr bwMode="auto">
              <a:xfrm>
                <a:off x="-2811462" y="3586159"/>
                <a:ext cx="233364" cy="1614486"/>
              </a:xfrm>
              <a:custGeom>
                <a:avLst/>
                <a:gdLst/>
                <a:ahLst/>
                <a:cxnLst>
                  <a:cxn ang="0">
                    <a:pos x="31" y="343"/>
                  </a:cxn>
                  <a:cxn ang="0">
                    <a:pos x="29" y="343"/>
                  </a:cxn>
                  <a:cxn ang="0">
                    <a:pos x="0" y="429"/>
                  </a:cxn>
                  <a:cxn ang="0">
                    <a:pos x="2" y="429"/>
                  </a:cxn>
                  <a:cxn ang="0">
                    <a:pos x="31" y="343"/>
                  </a:cxn>
                  <a:cxn ang="0">
                    <a:pos x="55" y="233"/>
                  </a:cxn>
                  <a:cxn ang="0">
                    <a:pos x="53" y="233"/>
                  </a:cxn>
                  <a:cxn ang="0">
                    <a:pos x="52" y="239"/>
                  </a:cxn>
                  <a:cxn ang="0">
                    <a:pos x="29" y="342"/>
                  </a:cxn>
                  <a:cxn ang="0">
                    <a:pos x="29" y="342"/>
                  </a:cxn>
                  <a:cxn ang="0">
                    <a:pos x="31" y="342"/>
                  </a:cxn>
                  <a:cxn ang="0">
                    <a:pos x="55" y="233"/>
                  </a:cxn>
                  <a:cxn ang="0">
                    <a:pos x="61" y="102"/>
                  </a:cxn>
                  <a:cxn ang="0">
                    <a:pos x="59" y="102"/>
                  </a:cxn>
                  <a:cxn ang="0">
                    <a:pos x="60" y="129"/>
                  </a:cxn>
                  <a:cxn ang="0">
                    <a:pos x="54" y="231"/>
                  </a:cxn>
                  <a:cxn ang="0">
                    <a:pos x="54" y="231"/>
                  </a:cxn>
                  <a:cxn ang="0">
                    <a:pos x="54" y="232"/>
                  </a:cxn>
                  <a:cxn ang="0">
                    <a:pos x="56" y="232"/>
                  </a:cxn>
                  <a:cxn ang="0">
                    <a:pos x="56" y="231"/>
                  </a:cxn>
                  <a:cxn ang="0">
                    <a:pos x="56" y="231"/>
                  </a:cxn>
                  <a:cxn ang="0">
                    <a:pos x="62" y="129"/>
                  </a:cxn>
                  <a:cxn ang="0">
                    <a:pos x="61" y="102"/>
                  </a:cxn>
                  <a:cxn ang="0">
                    <a:pos x="54" y="0"/>
                  </a:cxn>
                  <a:cxn ang="0">
                    <a:pos x="52" y="0"/>
                  </a:cxn>
                  <a:cxn ang="0">
                    <a:pos x="53" y="5"/>
                  </a:cxn>
                  <a:cxn ang="0">
                    <a:pos x="59" y="101"/>
                  </a:cxn>
                  <a:cxn ang="0">
                    <a:pos x="61" y="101"/>
                  </a:cxn>
                  <a:cxn ang="0">
                    <a:pos x="54" y="0"/>
                  </a:cxn>
                </a:cxnLst>
                <a:rect l="0" t="0" r="r" b="b"/>
                <a:pathLst>
                  <a:path w="62" h="429">
                    <a:moveTo>
                      <a:pt x="31" y="343"/>
                    </a:moveTo>
                    <a:cubicBezTo>
                      <a:pt x="29" y="343"/>
                      <a:pt x="29" y="343"/>
                      <a:pt x="29" y="343"/>
                    </a:cubicBezTo>
                    <a:cubicBezTo>
                      <a:pt x="18" y="386"/>
                      <a:pt x="8" y="411"/>
                      <a:pt x="0" y="429"/>
                    </a:cubicBezTo>
                    <a:cubicBezTo>
                      <a:pt x="2" y="429"/>
                      <a:pt x="2" y="429"/>
                      <a:pt x="2" y="429"/>
                    </a:cubicBezTo>
                    <a:cubicBezTo>
                      <a:pt x="10" y="411"/>
                      <a:pt x="20" y="385"/>
                      <a:pt x="31" y="343"/>
                    </a:cubicBezTo>
                    <a:moveTo>
                      <a:pt x="55" y="233"/>
                    </a:moveTo>
                    <a:cubicBezTo>
                      <a:pt x="53" y="233"/>
                      <a:pt x="53" y="233"/>
                      <a:pt x="53" y="233"/>
                    </a:cubicBezTo>
                    <a:cubicBezTo>
                      <a:pt x="53" y="234"/>
                      <a:pt x="53" y="236"/>
                      <a:pt x="52" y="239"/>
                    </a:cubicBezTo>
                    <a:cubicBezTo>
                      <a:pt x="50" y="254"/>
                      <a:pt x="42" y="290"/>
                      <a:pt x="29" y="342"/>
                    </a:cubicBezTo>
                    <a:cubicBezTo>
                      <a:pt x="29" y="342"/>
                      <a:pt x="29" y="342"/>
                      <a:pt x="29" y="342"/>
                    </a:cubicBezTo>
                    <a:cubicBezTo>
                      <a:pt x="31" y="342"/>
                      <a:pt x="31" y="342"/>
                      <a:pt x="31" y="342"/>
                    </a:cubicBezTo>
                    <a:cubicBezTo>
                      <a:pt x="46" y="282"/>
                      <a:pt x="54" y="242"/>
                      <a:pt x="55" y="233"/>
                    </a:cubicBezTo>
                    <a:moveTo>
                      <a:pt x="61" y="102"/>
                    </a:moveTo>
                    <a:cubicBezTo>
                      <a:pt x="59" y="102"/>
                      <a:pt x="59" y="102"/>
                      <a:pt x="59" y="102"/>
                    </a:cubicBezTo>
                    <a:cubicBezTo>
                      <a:pt x="60" y="111"/>
                      <a:pt x="60" y="119"/>
                      <a:pt x="60" y="129"/>
                    </a:cubicBezTo>
                    <a:cubicBezTo>
                      <a:pt x="60" y="161"/>
                      <a:pt x="58" y="196"/>
                      <a:pt x="54" y="231"/>
                    </a:cubicBezTo>
                    <a:cubicBezTo>
                      <a:pt x="54" y="231"/>
                      <a:pt x="54" y="231"/>
                      <a:pt x="54" y="231"/>
                    </a:cubicBezTo>
                    <a:cubicBezTo>
                      <a:pt x="54" y="231"/>
                      <a:pt x="54" y="231"/>
                      <a:pt x="54" y="232"/>
                    </a:cubicBezTo>
                    <a:cubicBezTo>
                      <a:pt x="56" y="232"/>
                      <a:pt x="56" y="232"/>
                      <a:pt x="56" y="232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56" y="231"/>
                      <a:pt x="56" y="231"/>
                      <a:pt x="56" y="231"/>
                    </a:cubicBezTo>
                    <a:cubicBezTo>
                      <a:pt x="60" y="196"/>
                      <a:pt x="62" y="161"/>
                      <a:pt x="62" y="129"/>
                    </a:cubicBezTo>
                    <a:cubicBezTo>
                      <a:pt x="62" y="119"/>
                      <a:pt x="62" y="111"/>
                      <a:pt x="61" y="102"/>
                    </a:cubicBezTo>
                    <a:moveTo>
                      <a:pt x="54" y="0"/>
                    </a:moveTo>
                    <a:cubicBezTo>
                      <a:pt x="52" y="0"/>
                      <a:pt x="52" y="0"/>
                      <a:pt x="52" y="0"/>
                    </a:cubicBezTo>
                    <a:cubicBezTo>
                      <a:pt x="52" y="1"/>
                      <a:pt x="52" y="3"/>
                      <a:pt x="53" y="5"/>
                    </a:cubicBezTo>
                    <a:cubicBezTo>
                      <a:pt x="55" y="22"/>
                      <a:pt x="58" y="57"/>
                      <a:pt x="59" y="101"/>
                    </a:cubicBezTo>
                    <a:cubicBezTo>
                      <a:pt x="61" y="101"/>
                      <a:pt x="61" y="101"/>
                      <a:pt x="61" y="101"/>
                    </a:cubicBezTo>
                    <a:cubicBezTo>
                      <a:pt x="60" y="51"/>
                      <a:pt x="56" y="13"/>
                      <a:pt x="5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8" name="Freeform 213"/>
              <p:cNvSpPr>
                <a:spLocks/>
              </p:cNvSpPr>
              <p:nvPr/>
            </p:nvSpPr>
            <p:spPr bwMode="auto">
              <a:xfrm>
                <a:off x="-2703512" y="4872033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49" name="Freeform 214"/>
              <p:cNvSpPr>
                <a:spLocks noEditPoints="1"/>
              </p:cNvSpPr>
              <p:nvPr/>
            </p:nvSpPr>
            <p:spPr bwMode="auto">
              <a:xfrm>
                <a:off x="-2954336" y="2419348"/>
                <a:ext cx="280987" cy="2954335"/>
              </a:xfrm>
              <a:custGeom>
                <a:avLst/>
                <a:gdLst/>
                <a:ahLst/>
                <a:cxnLst>
                  <a:cxn ang="0">
                    <a:pos x="39" y="740"/>
                  </a:cxn>
                  <a:cxn ang="0">
                    <a:pos x="37" y="740"/>
                  </a:cxn>
                  <a:cxn ang="0">
                    <a:pos x="19" y="774"/>
                  </a:cxn>
                  <a:cxn ang="0">
                    <a:pos x="19" y="774"/>
                  </a:cxn>
                  <a:cxn ang="0">
                    <a:pos x="15" y="784"/>
                  </a:cxn>
                  <a:cxn ang="0">
                    <a:pos x="16" y="785"/>
                  </a:cxn>
                  <a:cxn ang="0">
                    <a:pos x="21" y="775"/>
                  </a:cxn>
                  <a:cxn ang="0">
                    <a:pos x="21" y="775"/>
                  </a:cxn>
                  <a:cxn ang="0">
                    <a:pos x="22" y="773"/>
                  </a:cxn>
                  <a:cxn ang="0">
                    <a:pos x="21" y="773"/>
                  </a:cxn>
                  <a:cxn ang="0">
                    <a:pos x="21" y="772"/>
                  </a:cxn>
                  <a:cxn ang="0">
                    <a:pos x="22" y="772"/>
                  </a:cxn>
                  <a:cxn ang="0">
                    <a:pos x="39" y="740"/>
                  </a:cxn>
                  <a:cxn ang="0">
                    <a:pos x="49" y="98"/>
                  </a:cxn>
                  <a:cxn ang="0">
                    <a:pos x="47" y="98"/>
                  </a:cxn>
                  <a:cxn ang="0">
                    <a:pos x="73" y="194"/>
                  </a:cxn>
                  <a:cxn ang="0">
                    <a:pos x="75" y="194"/>
                  </a:cxn>
                  <a:cxn ang="0">
                    <a:pos x="49" y="98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1" y="2"/>
                  </a:cxn>
                  <a:cxn ang="0">
                    <a:pos x="47" y="97"/>
                  </a:cxn>
                  <a:cxn ang="0">
                    <a:pos x="49" y="97"/>
                  </a:cxn>
                  <a:cxn ang="0">
                    <a:pos x="1" y="0"/>
                  </a:cxn>
                </a:cxnLst>
                <a:rect l="0" t="0" r="r" b="b"/>
                <a:pathLst>
                  <a:path w="75" h="785">
                    <a:moveTo>
                      <a:pt x="39" y="740"/>
                    </a:moveTo>
                    <a:cubicBezTo>
                      <a:pt x="37" y="740"/>
                      <a:pt x="37" y="740"/>
                      <a:pt x="37" y="740"/>
                    </a:cubicBezTo>
                    <a:cubicBezTo>
                      <a:pt x="30" y="755"/>
                      <a:pt x="24" y="764"/>
                      <a:pt x="19" y="774"/>
                    </a:cubicBezTo>
                    <a:cubicBezTo>
                      <a:pt x="19" y="774"/>
                      <a:pt x="19" y="774"/>
                      <a:pt x="19" y="774"/>
                    </a:cubicBezTo>
                    <a:cubicBezTo>
                      <a:pt x="15" y="784"/>
                      <a:pt x="15" y="784"/>
                      <a:pt x="15" y="784"/>
                    </a:cubicBezTo>
                    <a:cubicBezTo>
                      <a:pt x="16" y="785"/>
                      <a:pt x="16" y="785"/>
                      <a:pt x="16" y="78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5"/>
                      <a:pt x="21" y="775"/>
                      <a:pt x="21" y="775"/>
                    </a:cubicBezTo>
                    <a:cubicBezTo>
                      <a:pt x="21" y="774"/>
                      <a:pt x="21" y="774"/>
                      <a:pt x="22" y="773"/>
                    </a:cubicBezTo>
                    <a:cubicBezTo>
                      <a:pt x="21" y="773"/>
                      <a:pt x="21" y="773"/>
                      <a:pt x="21" y="773"/>
                    </a:cubicBezTo>
                    <a:cubicBezTo>
                      <a:pt x="21" y="772"/>
                      <a:pt x="21" y="772"/>
                      <a:pt x="21" y="772"/>
                    </a:cubicBezTo>
                    <a:cubicBezTo>
                      <a:pt x="22" y="772"/>
                      <a:pt x="22" y="772"/>
                      <a:pt x="22" y="772"/>
                    </a:cubicBezTo>
                    <a:cubicBezTo>
                      <a:pt x="27" y="763"/>
                      <a:pt x="33" y="754"/>
                      <a:pt x="39" y="740"/>
                    </a:cubicBezTo>
                    <a:moveTo>
                      <a:pt x="49" y="98"/>
                    </a:moveTo>
                    <a:cubicBezTo>
                      <a:pt x="47" y="98"/>
                      <a:pt x="47" y="98"/>
                      <a:pt x="47" y="98"/>
                    </a:cubicBezTo>
                    <a:cubicBezTo>
                      <a:pt x="56" y="124"/>
                      <a:pt x="65" y="156"/>
                      <a:pt x="73" y="194"/>
                    </a:cubicBezTo>
                    <a:cubicBezTo>
                      <a:pt x="75" y="194"/>
                      <a:pt x="75" y="194"/>
                      <a:pt x="75" y="194"/>
                    </a:cubicBezTo>
                    <a:cubicBezTo>
                      <a:pt x="67" y="156"/>
                      <a:pt x="58" y="124"/>
                      <a:pt x="49" y="98"/>
                    </a:cubicBezTo>
                    <a:moveTo>
                      <a:pt x="1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1" y="2"/>
                    </a:cubicBezTo>
                    <a:cubicBezTo>
                      <a:pt x="5" y="7"/>
                      <a:pt x="26" y="36"/>
                      <a:pt x="47" y="97"/>
                    </a:cubicBezTo>
                    <a:cubicBezTo>
                      <a:pt x="49" y="97"/>
                      <a:pt x="49" y="97"/>
                      <a:pt x="49" y="97"/>
                    </a:cubicBezTo>
                    <a:cubicBezTo>
                      <a:pt x="25" y="28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0" name="Freeform 215"/>
              <p:cNvSpPr>
                <a:spLocks/>
              </p:cNvSpPr>
              <p:nvPr/>
            </p:nvSpPr>
            <p:spPr bwMode="auto">
              <a:xfrm>
                <a:off x="-2778124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1" name="Freeform 216"/>
              <p:cNvSpPr>
                <a:spLocks/>
              </p:cNvSpPr>
              <p:nvPr/>
            </p:nvSpPr>
            <p:spPr bwMode="auto">
              <a:xfrm>
                <a:off x="-2613024" y="4459284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2" name="Freeform 217"/>
              <p:cNvSpPr>
                <a:spLocks/>
              </p:cNvSpPr>
              <p:nvPr/>
            </p:nvSpPr>
            <p:spPr bwMode="auto">
              <a:xfrm>
                <a:off x="-2816223" y="5200645"/>
                <a:ext cx="12700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3" y="1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3" name="Freeform 218"/>
              <p:cNvSpPr>
                <a:spLocks/>
              </p:cNvSpPr>
              <p:nvPr/>
            </p:nvSpPr>
            <p:spPr bwMode="auto">
              <a:xfrm>
                <a:off x="-2874962" y="5324470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4" name="Freeform 219"/>
              <p:cNvSpPr>
                <a:spLocks/>
              </p:cNvSpPr>
              <p:nvPr/>
            </p:nvSpPr>
            <p:spPr bwMode="auto">
              <a:xfrm>
                <a:off x="-2590798" y="3965572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5" name="Freeform 220"/>
              <p:cNvSpPr>
                <a:spLocks/>
              </p:cNvSpPr>
              <p:nvPr/>
            </p:nvSpPr>
            <p:spPr bwMode="auto">
              <a:xfrm>
                <a:off x="-2616199" y="3581397"/>
                <a:ext cx="7937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6" name="Freeform 221"/>
              <p:cNvSpPr>
                <a:spLocks/>
              </p:cNvSpPr>
              <p:nvPr/>
            </p:nvSpPr>
            <p:spPr bwMode="auto">
              <a:xfrm>
                <a:off x="-5802311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7" name="Freeform 222"/>
              <p:cNvSpPr>
                <a:spLocks/>
              </p:cNvSpPr>
              <p:nvPr/>
            </p:nvSpPr>
            <p:spPr bwMode="auto">
              <a:xfrm>
                <a:off x="-5565772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8" name="Freeform 223"/>
              <p:cNvSpPr>
                <a:spLocks/>
              </p:cNvSpPr>
              <p:nvPr/>
            </p:nvSpPr>
            <p:spPr bwMode="auto">
              <a:xfrm>
                <a:off x="-532606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59" name="Freeform 224"/>
              <p:cNvSpPr>
                <a:spLocks/>
              </p:cNvSpPr>
              <p:nvPr/>
            </p:nvSpPr>
            <p:spPr bwMode="auto">
              <a:xfrm>
                <a:off x="-5081586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3" y="2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 w="3" h="2">
                    <a:moveTo>
                      <a:pt x="0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3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0" name="Freeform 225"/>
              <p:cNvSpPr>
                <a:spLocks/>
              </p:cNvSpPr>
              <p:nvPr/>
            </p:nvSpPr>
            <p:spPr bwMode="auto">
              <a:xfrm>
                <a:off x="-48371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1" name="Freeform 226"/>
              <p:cNvSpPr>
                <a:spLocks/>
              </p:cNvSpPr>
              <p:nvPr/>
            </p:nvSpPr>
            <p:spPr bwMode="auto">
              <a:xfrm>
                <a:off x="-4608511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2" name="Freeform 227"/>
              <p:cNvSpPr>
                <a:spLocks/>
              </p:cNvSpPr>
              <p:nvPr/>
            </p:nvSpPr>
            <p:spPr bwMode="auto">
              <a:xfrm>
                <a:off x="-1955799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3" name="Freeform 228"/>
              <p:cNvSpPr>
                <a:spLocks/>
              </p:cNvSpPr>
              <p:nvPr/>
            </p:nvSpPr>
            <p:spPr bwMode="auto">
              <a:xfrm>
                <a:off x="-3641723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4" name="Freeform 229"/>
              <p:cNvSpPr>
                <a:spLocks/>
              </p:cNvSpPr>
              <p:nvPr/>
            </p:nvSpPr>
            <p:spPr bwMode="auto">
              <a:xfrm>
                <a:off x="-3421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1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5" name="Freeform 230"/>
              <p:cNvSpPr>
                <a:spLocks/>
              </p:cNvSpPr>
              <p:nvPr/>
            </p:nvSpPr>
            <p:spPr bwMode="auto">
              <a:xfrm>
                <a:off x="-3171824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4" y="2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2">
                    <a:moveTo>
                      <a:pt x="4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6" name="Freeform 231"/>
              <p:cNvSpPr>
                <a:spLocks/>
              </p:cNvSpPr>
              <p:nvPr/>
            </p:nvSpPr>
            <p:spPr bwMode="auto">
              <a:xfrm>
                <a:off x="-2920998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7" name="Freeform 232"/>
              <p:cNvSpPr>
                <a:spLocks/>
              </p:cNvSpPr>
              <p:nvPr/>
            </p:nvSpPr>
            <p:spPr bwMode="auto">
              <a:xfrm>
                <a:off x="-2398712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8" name="Freeform 233"/>
              <p:cNvSpPr>
                <a:spLocks/>
              </p:cNvSpPr>
              <p:nvPr/>
            </p:nvSpPr>
            <p:spPr bwMode="auto">
              <a:xfrm>
                <a:off x="-2187574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69" name="Freeform 234"/>
              <p:cNvSpPr>
                <a:spLocks/>
              </p:cNvSpPr>
              <p:nvPr/>
            </p:nvSpPr>
            <p:spPr bwMode="auto">
              <a:xfrm>
                <a:off x="-1516062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3" y="1"/>
                  </a:cxn>
                  <a:cxn ang="0">
                    <a:pos x="2" y="0"/>
                  </a:cxn>
                </a:cxnLst>
                <a:rect l="0" t="0" r="r" b="b"/>
                <a:pathLst>
                  <a:path w="3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0" name="Freeform 235"/>
              <p:cNvSpPr>
                <a:spLocks/>
              </p:cNvSpPr>
              <p:nvPr/>
            </p:nvSpPr>
            <p:spPr bwMode="auto">
              <a:xfrm>
                <a:off x="-1747838" y="3149597"/>
                <a:ext cx="11114" cy="3175"/>
              </a:xfrm>
              <a:custGeom>
                <a:avLst/>
                <a:gdLst/>
                <a:ahLst/>
                <a:cxnLst>
                  <a:cxn ang="0">
                    <a:pos x="3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3" y="1"/>
                  </a:cxn>
                  <a:cxn ang="0">
                    <a:pos x="3" y="0"/>
                  </a:cxn>
                </a:cxnLst>
                <a:rect l="0" t="0" r="r" b="b"/>
                <a:pathLst>
                  <a:path w="3" h="1">
                    <a:moveTo>
                      <a:pt x="3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1" y="0"/>
                      <a:pt x="1" y="1"/>
                    </a:cubicBezTo>
                    <a:cubicBezTo>
                      <a:pt x="3" y="1"/>
                      <a:pt x="3" y="1"/>
                      <a:pt x="3" y="1"/>
                    </a:cubicBezTo>
                    <a:cubicBezTo>
                      <a:pt x="3" y="0"/>
                      <a:pt x="3" y="0"/>
                      <a:pt x="3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1" name="Freeform 236"/>
              <p:cNvSpPr>
                <a:spLocks/>
              </p:cNvSpPr>
              <p:nvPr/>
            </p:nvSpPr>
            <p:spPr bwMode="auto">
              <a:xfrm>
                <a:off x="-2679699" y="3149597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2" name="Freeform 237"/>
              <p:cNvSpPr>
                <a:spLocks noEditPoints="1"/>
              </p:cNvSpPr>
              <p:nvPr/>
            </p:nvSpPr>
            <p:spPr bwMode="auto">
              <a:xfrm>
                <a:off x="-6346822" y="2366960"/>
                <a:ext cx="5613397" cy="3281360"/>
              </a:xfrm>
              <a:custGeom>
                <a:avLst/>
                <a:gdLst/>
                <a:ahLst/>
                <a:cxnLst>
                  <a:cxn ang="0">
                    <a:pos x="215" y="38"/>
                  </a:cxn>
                  <a:cxn ang="0">
                    <a:pos x="535" y="111"/>
                  </a:cxn>
                  <a:cxn ang="0">
                    <a:pos x="485" y="112"/>
                  </a:cxn>
                  <a:cxn ang="0">
                    <a:pos x="527" y="211"/>
                  </a:cxn>
                  <a:cxn ang="0">
                    <a:pos x="575" y="331"/>
                  </a:cxn>
                  <a:cxn ang="0">
                    <a:pos x="605" y="324"/>
                  </a:cxn>
                  <a:cxn ang="0">
                    <a:pos x="651" y="221"/>
                  </a:cxn>
                  <a:cxn ang="0">
                    <a:pos x="704" y="118"/>
                  </a:cxn>
                  <a:cxn ang="0">
                    <a:pos x="688" y="109"/>
                  </a:cxn>
                  <a:cxn ang="0">
                    <a:pos x="894" y="6"/>
                  </a:cxn>
                  <a:cxn ang="0">
                    <a:pos x="1266" y="104"/>
                  </a:cxn>
                  <a:cxn ang="0">
                    <a:pos x="1344" y="208"/>
                  </a:cxn>
                  <a:cxn ang="0">
                    <a:pos x="1450" y="323"/>
                  </a:cxn>
                  <a:cxn ang="0">
                    <a:pos x="1492" y="475"/>
                  </a:cxn>
                  <a:cxn ang="0">
                    <a:pos x="1467" y="667"/>
                  </a:cxn>
                  <a:cxn ang="0">
                    <a:pos x="1428" y="807"/>
                  </a:cxn>
                  <a:cxn ang="0">
                    <a:pos x="1219" y="787"/>
                  </a:cxn>
                  <a:cxn ang="0">
                    <a:pos x="1138" y="666"/>
                  </a:cxn>
                  <a:cxn ang="0">
                    <a:pos x="1104" y="556"/>
                  </a:cxn>
                  <a:cxn ang="0">
                    <a:pos x="1085" y="446"/>
                  </a:cxn>
                  <a:cxn ang="0">
                    <a:pos x="1057" y="579"/>
                  </a:cxn>
                  <a:cxn ang="0">
                    <a:pos x="1023" y="667"/>
                  </a:cxn>
                  <a:cxn ang="0">
                    <a:pos x="958" y="787"/>
                  </a:cxn>
                  <a:cxn ang="0">
                    <a:pos x="749" y="787"/>
                  </a:cxn>
                  <a:cxn ang="0">
                    <a:pos x="712" y="667"/>
                  </a:cxn>
                  <a:cxn ang="0">
                    <a:pos x="679" y="557"/>
                  </a:cxn>
                  <a:cxn ang="0">
                    <a:pos x="669" y="459"/>
                  </a:cxn>
                  <a:cxn ang="0">
                    <a:pos x="625" y="668"/>
                  </a:cxn>
                  <a:cxn ang="0">
                    <a:pos x="584" y="786"/>
                  </a:cxn>
                  <a:cxn ang="0">
                    <a:pos x="502" y="863"/>
                  </a:cxn>
                  <a:cxn ang="0">
                    <a:pos x="417" y="787"/>
                  </a:cxn>
                  <a:cxn ang="0">
                    <a:pos x="403" y="753"/>
                  </a:cxn>
                  <a:cxn ang="0">
                    <a:pos x="353" y="578"/>
                  </a:cxn>
                  <a:cxn ang="0">
                    <a:pos x="339" y="435"/>
                  </a:cxn>
                  <a:cxn ang="0">
                    <a:pos x="319" y="557"/>
                  </a:cxn>
                  <a:cxn ang="0">
                    <a:pos x="270" y="668"/>
                  </a:cxn>
                  <a:cxn ang="0">
                    <a:pos x="214" y="785"/>
                  </a:cxn>
                  <a:cxn ang="0">
                    <a:pos x="46" y="785"/>
                  </a:cxn>
                  <a:cxn ang="0">
                    <a:pos x="28" y="667"/>
                  </a:cxn>
                  <a:cxn ang="0">
                    <a:pos x="10" y="574"/>
                  </a:cxn>
                  <a:cxn ang="0">
                    <a:pos x="1" y="452"/>
                  </a:cxn>
                  <a:cxn ang="0">
                    <a:pos x="23" y="324"/>
                  </a:cxn>
                  <a:cxn ang="0">
                    <a:pos x="29" y="309"/>
                  </a:cxn>
                  <a:cxn ang="0">
                    <a:pos x="84" y="209"/>
                  </a:cxn>
                  <a:cxn ang="0">
                    <a:pos x="162" y="81"/>
                  </a:cxn>
                  <a:cxn ang="0">
                    <a:pos x="214" y="36"/>
                  </a:cxn>
                  <a:cxn ang="0">
                    <a:pos x="23" y="318"/>
                  </a:cxn>
                  <a:cxn ang="0">
                    <a:pos x="38" y="769"/>
                  </a:cxn>
                  <a:cxn ang="0">
                    <a:pos x="273" y="667"/>
                  </a:cxn>
                  <a:cxn ang="0">
                    <a:pos x="464" y="848"/>
                  </a:cxn>
                  <a:cxn ang="0">
                    <a:pos x="590" y="776"/>
                  </a:cxn>
                  <a:cxn ang="0">
                    <a:pos x="899" y="852"/>
                  </a:cxn>
                  <a:cxn ang="0">
                    <a:pos x="1345" y="872"/>
                  </a:cxn>
                  <a:cxn ang="0">
                    <a:pos x="1474" y="366"/>
                  </a:cxn>
                  <a:cxn ang="0">
                    <a:pos x="1236" y="87"/>
                  </a:cxn>
                  <a:cxn ang="0">
                    <a:pos x="742" y="53"/>
                  </a:cxn>
                  <a:cxn ang="0">
                    <a:pos x="577" y="331"/>
                  </a:cxn>
                </a:cxnLst>
                <a:rect l="0" t="0" r="r" b="b"/>
                <a:pathLst>
                  <a:path w="1494" h="872">
                    <a:moveTo>
                      <a:pt x="484" y="111"/>
                    </a:moveTo>
                    <a:cubicBezTo>
                      <a:pt x="484" y="111"/>
                      <a:pt x="484" y="111"/>
                      <a:pt x="484" y="111"/>
                    </a:cubicBezTo>
                    <a:cubicBezTo>
                      <a:pt x="485" y="111"/>
                      <a:pt x="485" y="111"/>
                      <a:pt x="485" y="111"/>
                    </a:cubicBezTo>
                    <a:cubicBezTo>
                      <a:pt x="485" y="111"/>
                      <a:pt x="485" y="111"/>
                      <a:pt x="484" y="111"/>
                    </a:cubicBezTo>
                    <a:cubicBezTo>
                      <a:pt x="484" y="111"/>
                      <a:pt x="484" y="111"/>
                      <a:pt x="484" y="111"/>
                    </a:cubicBezTo>
                    <a:moveTo>
                      <a:pt x="165" y="78"/>
                    </a:moveTo>
                    <a:cubicBezTo>
                      <a:pt x="166" y="78"/>
                      <a:pt x="169" y="75"/>
                      <a:pt x="173" y="71"/>
                    </a:cubicBezTo>
                    <a:cubicBezTo>
                      <a:pt x="175" y="69"/>
                      <a:pt x="178" y="67"/>
                      <a:pt x="180" y="65"/>
                    </a:cubicBezTo>
                    <a:cubicBezTo>
                      <a:pt x="191" y="56"/>
                      <a:pt x="205" y="44"/>
                      <a:pt x="215" y="38"/>
                    </a:cubicBezTo>
                    <a:cubicBezTo>
                      <a:pt x="224" y="33"/>
                      <a:pt x="240" y="25"/>
                      <a:pt x="255" y="18"/>
                    </a:cubicBezTo>
                    <a:cubicBezTo>
                      <a:pt x="271" y="12"/>
                      <a:pt x="286" y="6"/>
                      <a:pt x="292" y="5"/>
                    </a:cubicBezTo>
                    <a:cubicBezTo>
                      <a:pt x="299" y="4"/>
                      <a:pt x="312" y="1"/>
                      <a:pt x="331" y="1"/>
                    </a:cubicBezTo>
                    <a:cubicBezTo>
                      <a:pt x="347" y="1"/>
                      <a:pt x="367" y="3"/>
                      <a:pt x="390" y="8"/>
                    </a:cubicBezTo>
                    <a:cubicBezTo>
                      <a:pt x="429" y="17"/>
                      <a:pt x="474" y="38"/>
                      <a:pt x="501" y="55"/>
                    </a:cubicBezTo>
                    <a:cubicBezTo>
                      <a:pt x="509" y="60"/>
                      <a:pt x="525" y="74"/>
                      <a:pt x="539" y="88"/>
                    </a:cubicBezTo>
                    <a:cubicBezTo>
                      <a:pt x="546" y="94"/>
                      <a:pt x="553" y="100"/>
                      <a:pt x="558" y="105"/>
                    </a:cubicBezTo>
                    <a:cubicBezTo>
                      <a:pt x="561" y="107"/>
                      <a:pt x="563" y="109"/>
                      <a:pt x="564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5" y="111"/>
                      <a:pt x="535" y="111"/>
                      <a:pt x="535" y="111"/>
                    </a:cubicBezTo>
                    <a:cubicBezTo>
                      <a:pt x="534" y="112"/>
                      <a:pt x="534" y="112"/>
                      <a:pt x="534" y="112"/>
                    </a:cubicBezTo>
                    <a:cubicBezTo>
                      <a:pt x="534" y="111"/>
                      <a:pt x="534" y="111"/>
                      <a:pt x="534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1"/>
                      <a:pt x="486" y="111"/>
                      <a:pt x="486" y="111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6" y="112"/>
                      <a:pt x="486" y="112"/>
                      <a:pt x="486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5" y="112"/>
                      <a:pt x="485" y="112"/>
                    </a:cubicBezTo>
                    <a:cubicBezTo>
                      <a:pt x="485" y="112"/>
                      <a:pt x="487" y="116"/>
                      <a:pt x="490" y="122"/>
                    </a:cubicBezTo>
                    <a:cubicBezTo>
                      <a:pt x="499" y="140"/>
                      <a:pt x="517" y="179"/>
                      <a:pt x="525" y="208"/>
                    </a:cubicBezTo>
                    <a:cubicBezTo>
                      <a:pt x="525" y="208"/>
                      <a:pt x="525" y="208"/>
                      <a:pt x="525" y="208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5" y="209"/>
                      <a:pt x="525" y="209"/>
                    </a:cubicBezTo>
                    <a:cubicBezTo>
                      <a:pt x="525" y="209"/>
                      <a:pt x="526" y="210"/>
                      <a:pt x="527" y="211"/>
                    </a:cubicBezTo>
                    <a:cubicBezTo>
                      <a:pt x="533" y="220"/>
                      <a:pt x="556" y="254"/>
                      <a:pt x="570" y="309"/>
                    </a:cubicBezTo>
                    <a:cubicBezTo>
                      <a:pt x="571" y="309"/>
                      <a:pt x="571" y="309"/>
                      <a:pt x="571" y="309"/>
                    </a:cubicBezTo>
                    <a:cubicBezTo>
                      <a:pt x="571" y="310"/>
                      <a:pt x="571" y="310"/>
                      <a:pt x="571" y="310"/>
                    </a:cubicBezTo>
                    <a:cubicBezTo>
                      <a:pt x="570" y="310"/>
                      <a:pt x="570" y="310"/>
                      <a:pt x="570" y="310"/>
                    </a:cubicBezTo>
                    <a:cubicBezTo>
                      <a:pt x="571" y="314"/>
                      <a:pt x="572" y="318"/>
                      <a:pt x="573" y="323"/>
                    </a:cubicBezTo>
                    <a:cubicBezTo>
                      <a:pt x="574" y="323"/>
                      <a:pt x="574" y="323"/>
                      <a:pt x="574" y="323"/>
                    </a:cubicBezTo>
                    <a:cubicBezTo>
                      <a:pt x="574" y="324"/>
                      <a:pt x="574" y="324"/>
                      <a:pt x="574" y="324"/>
                    </a:cubicBezTo>
                    <a:cubicBezTo>
                      <a:pt x="573" y="324"/>
                      <a:pt x="573" y="324"/>
                      <a:pt x="573" y="324"/>
                    </a:cubicBezTo>
                    <a:cubicBezTo>
                      <a:pt x="574" y="326"/>
                      <a:pt x="574" y="329"/>
                      <a:pt x="575" y="331"/>
                    </a:cubicBezTo>
                    <a:cubicBezTo>
                      <a:pt x="575" y="331"/>
                      <a:pt x="575" y="333"/>
                      <a:pt x="576" y="337"/>
                    </a:cubicBezTo>
                    <a:cubicBezTo>
                      <a:pt x="579" y="349"/>
                      <a:pt x="584" y="376"/>
                      <a:pt x="587" y="402"/>
                    </a:cubicBezTo>
                    <a:cubicBezTo>
                      <a:pt x="587" y="402"/>
                      <a:pt x="587" y="402"/>
                      <a:pt x="587" y="402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88" y="406"/>
                      <a:pt x="588" y="406"/>
                      <a:pt x="588" y="406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0" y="405"/>
                      <a:pt x="590" y="405"/>
                      <a:pt x="590" y="405"/>
                    </a:cubicBezTo>
                    <a:cubicBezTo>
                      <a:pt x="592" y="385"/>
                      <a:pt x="592" y="385"/>
                      <a:pt x="592" y="385"/>
                    </a:cubicBezTo>
                    <a:cubicBezTo>
                      <a:pt x="595" y="363"/>
                      <a:pt x="600" y="342"/>
                      <a:pt x="605" y="324"/>
                    </a:cubicBezTo>
                    <a:cubicBezTo>
                      <a:pt x="604" y="324"/>
                      <a:pt x="604" y="324"/>
                      <a:pt x="604" y="324"/>
                    </a:cubicBezTo>
                    <a:cubicBezTo>
                      <a:pt x="604" y="323"/>
                      <a:pt x="604" y="323"/>
                      <a:pt x="604" y="323"/>
                    </a:cubicBezTo>
                    <a:cubicBezTo>
                      <a:pt x="605" y="323"/>
                      <a:pt x="605" y="323"/>
                      <a:pt x="605" y="323"/>
                    </a:cubicBezTo>
                    <a:cubicBezTo>
                      <a:pt x="606" y="318"/>
                      <a:pt x="608" y="314"/>
                      <a:pt x="609" y="310"/>
                    </a:cubicBezTo>
                    <a:cubicBezTo>
                      <a:pt x="608" y="310"/>
                      <a:pt x="608" y="310"/>
                      <a:pt x="608" y="310"/>
                    </a:cubicBezTo>
                    <a:cubicBezTo>
                      <a:pt x="608" y="309"/>
                      <a:pt x="608" y="309"/>
                      <a:pt x="608" y="309"/>
                    </a:cubicBezTo>
                    <a:cubicBezTo>
                      <a:pt x="609" y="309"/>
                      <a:pt x="609" y="309"/>
                      <a:pt x="609" y="309"/>
                    </a:cubicBezTo>
                    <a:cubicBezTo>
                      <a:pt x="616" y="288"/>
                      <a:pt x="624" y="271"/>
                      <a:pt x="631" y="256"/>
                    </a:cubicBezTo>
                    <a:cubicBezTo>
                      <a:pt x="639" y="241"/>
                      <a:pt x="646" y="229"/>
                      <a:pt x="651" y="221"/>
                    </a:cubicBezTo>
                    <a:cubicBezTo>
                      <a:pt x="654" y="217"/>
                      <a:pt x="656" y="214"/>
                      <a:pt x="657" y="212"/>
                    </a:cubicBezTo>
                    <a:cubicBezTo>
                      <a:pt x="659" y="210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60" y="209"/>
                      <a:pt x="660" y="209"/>
                      <a:pt x="660" y="209"/>
                    </a:cubicBezTo>
                    <a:cubicBezTo>
                      <a:pt x="659" y="209"/>
                      <a:pt x="659" y="209"/>
                      <a:pt x="659" y="209"/>
                    </a:cubicBezTo>
                    <a:cubicBezTo>
                      <a:pt x="659" y="208"/>
                      <a:pt x="659" y="208"/>
                      <a:pt x="659" y="208"/>
                    </a:cubicBezTo>
                    <a:cubicBezTo>
                      <a:pt x="660" y="208"/>
                      <a:pt x="660" y="208"/>
                      <a:pt x="660" y="208"/>
                    </a:cubicBezTo>
                    <a:cubicBezTo>
                      <a:pt x="670" y="174"/>
                      <a:pt x="682" y="151"/>
                      <a:pt x="692" y="135"/>
                    </a:cubicBezTo>
                    <a:cubicBezTo>
                      <a:pt x="696" y="127"/>
                      <a:pt x="701" y="121"/>
                      <a:pt x="704" y="118"/>
                    </a:cubicBezTo>
                    <a:cubicBezTo>
                      <a:pt x="705" y="116"/>
                      <a:pt x="706" y="114"/>
                      <a:pt x="707" y="114"/>
                    </a:cubicBezTo>
                    <a:cubicBezTo>
                      <a:pt x="708" y="113"/>
                      <a:pt x="708" y="112"/>
                      <a:pt x="708" y="112"/>
                    </a:cubicBezTo>
                    <a:cubicBezTo>
                      <a:pt x="708" y="112"/>
                      <a:pt x="708" y="112"/>
                      <a:pt x="708" y="112"/>
                    </a:cubicBezTo>
                    <a:cubicBezTo>
                      <a:pt x="707" y="112"/>
                      <a:pt x="707" y="112"/>
                      <a:pt x="707" y="112"/>
                    </a:cubicBezTo>
                    <a:cubicBezTo>
                      <a:pt x="707" y="111"/>
                      <a:pt x="707" y="111"/>
                      <a:pt x="707" y="111"/>
                    </a:cubicBezTo>
                    <a:cubicBezTo>
                      <a:pt x="709" y="111"/>
                      <a:pt x="709" y="111"/>
                      <a:pt x="709" y="111"/>
                    </a:cubicBezTo>
                    <a:cubicBezTo>
                      <a:pt x="710" y="111"/>
                      <a:pt x="710" y="111"/>
                      <a:pt x="710" y="111"/>
                    </a:cubicBezTo>
                    <a:cubicBezTo>
                      <a:pt x="687" y="110"/>
                      <a:pt x="687" y="110"/>
                      <a:pt x="687" y="110"/>
                    </a:cubicBezTo>
                    <a:cubicBezTo>
                      <a:pt x="687" y="110"/>
                      <a:pt x="687" y="110"/>
                      <a:pt x="688" y="109"/>
                    </a:cubicBezTo>
                    <a:cubicBezTo>
                      <a:pt x="689" y="107"/>
                      <a:pt x="691" y="105"/>
                      <a:pt x="694" y="102"/>
                    </a:cubicBezTo>
                    <a:cubicBezTo>
                      <a:pt x="698" y="96"/>
                      <a:pt x="704" y="89"/>
                      <a:pt x="712" y="81"/>
                    </a:cubicBezTo>
                    <a:cubicBezTo>
                      <a:pt x="712" y="81"/>
                      <a:pt x="712" y="81"/>
                      <a:pt x="712" y="81"/>
                    </a:cubicBezTo>
                    <a:cubicBezTo>
                      <a:pt x="712" y="80"/>
                      <a:pt x="712" y="80"/>
                      <a:pt x="712" y="80"/>
                    </a:cubicBezTo>
                    <a:cubicBezTo>
                      <a:pt x="713" y="80"/>
                      <a:pt x="713" y="80"/>
                      <a:pt x="713" y="80"/>
                    </a:cubicBezTo>
                    <a:cubicBezTo>
                      <a:pt x="721" y="72"/>
                      <a:pt x="731" y="63"/>
                      <a:pt x="743" y="55"/>
                    </a:cubicBezTo>
                    <a:cubicBezTo>
                      <a:pt x="758" y="43"/>
                      <a:pt x="775" y="33"/>
                      <a:pt x="795" y="24"/>
                    </a:cubicBezTo>
                    <a:cubicBezTo>
                      <a:pt x="820" y="13"/>
                      <a:pt x="849" y="5"/>
                      <a:pt x="881" y="5"/>
                    </a:cubicBezTo>
                    <a:cubicBezTo>
                      <a:pt x="885" y="5"/>
                      <a:pt x="890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4" y="6"/>
                      <a:pt x="894" y="6"/>
                    </a:cubicBezTo>
                    <a:cubicBezTo>
                      <a:pt x="894" y="6"/>
                      <a:pt x="896" y="6"/>
                      <a:pt x="900" y="6"/>
                    </a:cubicBezTo>
                    <a:cubicBezTo>
                      <a:pt x="918" y="6"/>
                      <a:pt x="971" y="7"/>
                      <a:pt x="1029" y="19"/>
                    </a:cubicBezTo>
                    <a:cubicBezTo>
                      <a:pt x="1083" y="31"/>
                      <a:pt x="1129" y="40"/>
                      <a:pt x="1203" y="73"/>
                    </a:cubicBezTo>
                    <a:cubicBezTo>
                      <a:pt x="1207" y="75"/>
                      <a:pt x="1210" y="76"/>
                      <a:pt x="1214" y="78"/>
                    </a:cubicBezTo>
                    <a:cubicBezTo>
                      <a:pt x="1217" y="80"/>
                      <a:pt x="1221" y="81"/>
                      <a:pt x="1225" y="83"/>
                    </a:cubicBezTo>
                    <a:cubicBezTo>
                      <a:pt x="1228" y="85"/>
                      <a:pt x="1232" y="87"/>
                      <a:pt x="1235" y="88"/>
                    </a:cubicBezTo>
                    <a:cubicBezTo>
                      <a:pt x="1245" y="93"/>
                      <a:pt x="1255" y="98"/>
                      <a:pt x="1266" y="104"/>
                    </a:cubicBezTo>
                    <a:cubicBezTo>
                      <a:pt x="1274" y="109"/>
                      <a:pt x="1283" y="113"/>
                      <a:pt x="1292" y="118"/>
                    </a:cubicBezTo>
                    <a:cubicBezTo>
                      <a:pt x="1292" y="118"/>
                      <a:pt x="1294" y="120"/>
                      <a:pt x="1299" y="122"/>
                    </a:cubicBezTo>
                    <a:cubicBezTo>
                      <a:pt x="1303" y="125"/>
                      <a:pt x="1309" y="129"/>
                      <a:pt x="1317" y="134"/>
                    </a:cubicBezTo>
                    <a:cubicBezTo>
                      <a:pt x="1318" y="135"/>
                      <a:pt x="1319" y="136"/>
                      <a:pt x="1321" y="137"/>
                    </a:cubicBezTo>
                    <a:cubicBezTo>
                      <a:pt x="1322" y="138"/>
                      <a:pt x="1324" y="139"/>
                      <a:pt x="1325" y="140"/>
                    </a:cubicBezTo>
                    <a:cubicBezTo>
                      <a:pt x="1349" y="156"/>
                      <a:pt x="1380" y="179"/>
                      <a:pt x="1404" y="207"/>
                    </a:cubicBezTo>
                    <a:cubicBezTo>
                      <a:pt x="1344" y="207"/>
                      <a:pt x="1344" y="207"/>
                      <a:pt x="1344" y="207"/>
                    </a:cubicBezTo>
                    <a:cubicBezTo>
                      <a:pt x="1344" y="207"/>
                      <a:pt x="1344" y="208"/>
                      <a:pt x="1345" y="208"/>
                    </a:cubicBezTo>
                    <a:cubicBezTo>
                      <a:pt x="1344" y="208"/>
                      <a:pt x="1344" y="208"/>
                      <a:pt x="1344" y="208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3" y="209"/>
                      <a:pt x="1343" y="209"/>
                      <a:pt x="1343" y="209"/>
                    </a:cubicBezTo>
                    <a:cubicBezTo>
                      <a:pt x="1344" y="209"/>
                      <a:pt x="1344" y="209"/>
                      <a:pt x="1344" y="209"/>
                    </a:cubicBezTo>
                    <a:cubicBezTo>
                      <a:pt x="1344" y="209"/>
                      <a:pt x="1345" y="210"/>
                      <a:pt x="1348" y="212"/>
                    </a:cubicBezTo>
                    <a:cubicBezTo>
                      <a:pt x="1362" y="224"/>
                      <a:pt x="1407" y="263"/>
                      <a:pt x="1440" y="309"/>
                    </a:cubicBezTo>
                    <a:cubicBezTo>
                      <a:pt x="1442" y="309"/>
                      <a:pt x="1442" y="309"/>
                      <a:pt x="1442" y="309"/>
                    </a:cubicBezTo>
                    <a:cubicBezTo>
                      <a:pt x="1442" y="310"/>
                      <a:pt x="1442" y="310"/>
                      <a:pt x="1442" y="310"/>
                    </a:cubicBezTo>
                    <a:cubicBezTo>
                      <a:pt x="1441" y="310"/>
                      <a:pt x="1441" y="310"/>
                      <a:pt x="1441" y="310"/>
                    </a:cubicBezTo>
                    <a:cubicBezTo>
                      <a:pt x="1444" y="314"/>
                      <a:pt x="1447" y="318"/>
                      <a:pt x="1450" y="323"/>
                    </a:cubicBezTo>
                    <a:cubicBezTo>
                      <a:pt x="1451" y="323"/>
                      <a:pt x="1451" y="323"/>
                      <a:pt x="1451" y="323"/>
                    </a:cubicBezTo>
                    <a:cubicBezTo>
                      <a:pt x="1451" y="324"/>
                      <a:pt x="1451" y="324"/>
                      <a:pt x="1451" y="324"/>
                    </a:cubicBezTo>
                    <a:cubicBezTo>
                      <a:pt x="1450" y="324"/>
                      <a:pt x="1450" y="324"/>
                      <a:pt x="1450" y="324"/>
                    </a:cubicBezTo>
                    <a:cubicBezTo>
                      <a:pt x="1459" y="338"/>
                      <a:pt x="1467" y="352"/>
                      <a:pt x="1472" y="367"/>
                    </a:cubicBezTo>
                    <a:cubicBezTo>
                      <a:pt x="1480" y="388"/>
                      <a:pt x="1485" y="407"/>
                      <a:pt x="1488" y="425"/>
                    </a:cubicBezTo>
                    <a:cubicBezTo>
                      <a:pt x="1489" y="425"/>
                      <a:pt x="1489" y="425"/>
                      <a:pt x="1489" y="425"/>
                    </a:cubicBezTo>
                    <a:cubicBezTo>
                      <a:pt x="1489" y="426"/>
                      <a:pt x="1489" y="426"/>
                      <a:pt x="1489" y="426"/>
                    </a:cubicBezTo>
                    <a:cubicBezTo>
                      <a:pt x="1488" y="426"/>
                      <a:pt x="1488" y="426"/>
                      <a:pt x="1488" y="426"/>
                    </a:cubicBezTo>
                    <a:cubicBezTo>
                      <a:pt x="1491" y="442"/>
                      <a:pt x="1492" y="458"/>
                      <a:pt x="1492" y="475"/>
                    </a:cubicBezTo>
                    <a:cubicBezTo>
                      <a:pt x="1492" y="498"/>
                      <a:pt x="1490" y="524"/>
                      <a:pt x="1485" y="556"/>
                    </a:cubicBezTo>
                    <a:cubicBezTo>
                      <a:pt x="1486" y="556"/>
                      <a:pt x="1486" y="556"/>
                      <a:pt x="1486" y="556"/>
                    </a:cubicBezTo>
                    <a:cubicBezTo>
                      <a:pt x="1486" y="557"/>
                      <a:pt x="1486" y="557"/>
                      <a:pt x="1486" y="557"/>
                    </a:cubicBezTo>
                    <a:cubicBezTo>
                      <a:pt x="1485" y="557"/>
                      <a:pt x="1485" y="557"/>
                      <a:pt x="1485" y="557"/>
                    </a:cubicBezTo>
                    <a:cubicBezTo>
                      <a:pt x="1483" y="574"/>
                      <a:pt x="1480" y="593"/>
                      <a:pt x="1477" y="614"/>
                    </a:cubicBezTo>
                    <a:cubicBezTo>
                      <a:pt x="1474" y="632"/>
                      <a:pt x="1470" y="650"/>
                      <a:pt x="1467" y="666"/>
                    </a:cubicBezTo>
                    <a:cubicBezTo>
                      <a:pt x="1468" y="666"/>
                      <a:pt x="1468" y="666"/>
                      <a:pt x="1468" y="666"/>
                    </a:cubicBezTo>
                    <a:cubicBezTo>
                      <a:pt x="1468" y="667"/>
                      <a:pt x="1468" y="667"/>
                      <a:pt x="1468" y="667"/>
                    </a:cubicBezTo>
                    <a:cubicBezTo>
                      <a:pt x="1467" y="667"/>
                      <a:pt x="1467" y="667"/>
                      <a:pt x="1467" y="667"/>
                    </a:cubicBezTo>
                    <a:cubicBezTo>
                      <a:pt x="1460" y="703"/>
                      <a:pt x="1453" y="732"/>
                      <a:pt x="1447" y="753"/>
                    </a:cubicBezTo>
                    <a:cubicBezTo>
                      <a:pt x="1447" y="753"/>
                      <a:pt x="1447" y="753"/>
                      <a:pt x="1447" y="753"/>
                    </a:cubicBezTo>
                    <a:cubicBezTo>
                      <a:pt x="1447" y="754"/>
                      <a:pt x="1447" y="754"/>
                      <a:pt x="1447" y="754"/>
                    </a:cubicBezTo>
                    <a:cubicBezTo>
                      <a:pt x="1446" y="754"/>
                      <a:pt x="1446" y="754"/>
                      <a:pt x="1446" y="754"/>
                    </a:cubicBezTo>
                    <a:cubicBezTo>
                      <a:pt x="1446" y="756"/>
                      <a:pt x="1445" y="759"/>
                      <a:pt x="1444" y="761"/>
                    </a:cubicBezTo>
                    <a:cubicBezTo>
                      <a:pt x="1440" y="777"/>
                      <a:pt x="1436" y="788"/>
                      <a:pt x="1433" y="796"/>
                    </a:cubicBezTo>
                    <a:cubicBezTo>
                      <a:pt x="1431" y="799"/>
                      <a:pt x="1430" y="802"/>
                      <a:pt x="1429" y="804"/>
                    </a:cubicBezTo>
                    <a:cubicBezTo>
                      <a:pt x="1429" y="806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7"/>
                      <a:pt x="1428" y="807"/>
                    </a:cubicBezTo>
                    <a:cubicBezTo>
                      <a:pt x="1428" y="807"/>
                      <a:pt x="1428" y="808"/>
                      <a:pt x="1427" y="809"/>
                    </a:cubicBezTo>
                    <a:cubicBezTo>
                      <a:pt x="1425" y="814"/>
                      <a:pt x="1419" y="828"/>
                      <a:pt x="1411" y="840"/>
                    </a:cubicBezTo>
                    <a:cubicBezTo>
                      <a:pt x="1403" y="853"/>
                      <a:pt x="1392" y="864"/>
                      <a:pt x="1381" y="867"/>
                    </a:cubicBezTo>
                    <a:cubicBezTo>
                      <a:pt x="1374" y="869"/>
                      <a:pt x="1365" y="870"/>
                      <a:pt x="1355" y="870"/>
                    </a:cubicBezTo>
                    <a:cubicBezTo>
                      <a:pt x="1330" y="870"/>
                      <a:pt x="1296" y="860"/>
                      <a:pt x="1250" y="816"/>
                    </a:cubicBezTo>
                    <a:cubicBezTo>
                      <a:pt x="1243" y="809"/>
                      <a:pt x="1236" y="803"/>
                      <a:pt x="1230" y="797"/>
                    </a:cubicBezTo>
                    <a:cubicBezTo>
                      <a:pt x="1227" y="793"/>
                      <a:pt x="1224" y="790"/>
                      <a:pt x="1221" y="787"/>
                    </a:cubicBezTo>
                    <a:cubicBezTo>
                      <a:pt x="1219" y="787"/>
                      <a:pt x="1219" y="787"/>
                      <a:pt x="1219" y="787"/>
                    </a:cubicBezTo>
                    <a:cubicBezTo>
                      <a:pt x="1219" y="786"/>
                      <a:pt x="1219" y="786"/>
                      <a:pt x="1219" y="786"/>
                    </a:cubicBezTo>
                    <a:cubicBezTo>
                      <a:pt x="1220" y="786"/>
                      <a:pt x="1220" y="786"/>
                      <a:pt x="1220" y="786"/>
                    </a:cubicBezTo>
                    <a:cubicBezTo>
                      <a:pt x="1209" y="775"/>
                      <a:pt x="1199" y="765"/>
                      <a:pt x="1191" y="754"/>
                    </a:cubicBezTo>
                    <a:cubicBezTo>
                      <a:pt x="1189" y="754"/>
                      <a:pt x="1189" y="754"/>
                      <a:pt x="1189" y="754"/>
                    </a:cubicBezTo>
                    <a:cubicBezTo>
                      <a:pt x="1189" y="753"/>
                      <a:pt x="1189" y="753"/>
                      <a:pt x="1189" y="753"/>
                    </a:cubicBezTo>
                    <a:cubicBezTo>
                      <a:pt x="1190" y="753"/>
                      <a:pt x="1190" y="753"/>
                      <a:pt x="1190" y="753"/>
                    </a:cubicBezTo>
                    <a:cubicBezTo>
                      <a:pt x="1169" y="726"/>
                      <a:pt x="1154" y="700"/>
                      <a:pt x="1139" y="667"/>
                    </a:cubicBezTo>
                    <a:cubicBezTo>
                      <a:pt x="1138" y="667"/>
                      <a:pt x="1138" y="667"/>
                      <a:pt x="1138" y="667"/>
                    </a:cubicBezTo>
                    <a:cubicBezTo>
                      <a:pt x="1138" y="666"/>
                      <a:pt x="1138" y="666"/>
                      <a:pt x="1138" y="666"/>
                    </a:cubicBezTo>
                    <a:cubicBezTo>
                      <a:pt x="1139" y="666"/>
                      <a:pt x="1139" y="666"/>
                      <a:pt x="1139" y="666"/>
                    </a:cubicBezTo>
                    <a:cubicBezTo>
                      <a:pt x="1137" y="662"/>
                      <a:pt x="1135" y="658"/>
                      <a:pt x="1133" y="654"/>
                    </a:cubicBezTo>
                    <a:cubicBezTo>
                      <a:pt x="1124" y="632"/>
                      <a:pt x="1116" y="606"/>
                      <a:pt x="1110" y="579"/>
                    </a:cubicBezTo>
                    <a:cubicBezTo>
                      <a:pt x="1110" y="579"/>
                      <a:pt x="1110" y="579"/>
                      <a:pt x="1110" y="579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10" y="578"/>
                      <a:pt x="1110" y="578"/>
                      <a:pt x="1110" y="578"/>
                    </a:cubicBezTo>
                    <a:cubicBezTo>
                      <a:pt x="1108" y="571"/>
                      <a:pt x="1107" y="564"/>
                      <a:pt x="1105" y="557"/>
                    </a:cubicBezTo>
                    <a:cubicBezTo>
                      <a:pt x="1104" y="557"/>
                      <a:pt x="1104" y="557"/>
                      <a:pt x="1104" y="557"/>
                    </a:cubicBezTo>
                    <a:cubicBezTo>
                      <a:pt x="1104" y="556"/>
                      <a:pt x="1104" y="556"/>
                      <a:pt x="1104" y="556"/>
                    </a:cubicBezTo>
                    <a:cubicBezTo>
                      <a:pt x="1105" y="556"/>
                      <a:pt x="1105" y="556"/>
                      <a:pt x="1105" y="556"/>
                    </a:cubicBezTo>
                    <a:cubicBezTo>
                      <a:pt x="1102" y="544"/>
                      <a:pt x="1100" y="532"/>
                      <a:pt x="1098" y="521"/>
                    </a:cubicBezTo>
                    <a:cubicBezTo>
                      <a:pt x="1094" y="500"/>
                      <a:pt x="1091" y="481"/>
                      <a:pt x="1090" y="467"/>
                    </a:cubicBezTo>
                    <a:cubicBezTo>
                      <a:pt x="1089" y="461"/>
                      <a:pt x="1088" y="455"/>
                      <a:pt x="1087" y="452"/>
                    </a:cubicBezTo>
                    <a:cubicBezTo>
                      <a:pt x="1087" y="448"/>
                      <a:pt x="1087" y="446"/>
                      <a:pt x="1087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6" y="446"/>
                      <a:pt x="1086" y="446"/>
                      <a:pt x="1086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6"/>
                      <a:pt x="1085" y="446"/>
                    </a:cubicBezTo>
                    <a:cubicBezTo>
                      <a:pt x="1085" y="446"/>
                      <a:pt x="1085" y="447"/>
                      <a:pt x="1085" y="450"/>
                    </a:cubicBezTo>
                    <a:cubicBezTo>
                      <a:pt x="1083" y="463"/>
                      <a:pt x="1078" y="509"/>
                      <a:pt x="1065" y="556"/>
                    </a:cubicBezTo>
                    <a:cubicBezTo>
                      <a:pt x="1065" y="557"/>
                      <a:pt x="1065" y="557"/>
                      <a:pt x="1065" y="557"/>
                    </a:cubicBezTo>
                    <a:cubicBezTo>
                      <a:pt x="1064" y="557"/>
                      <a:pt x="1064" y="557"/>
                      <a:pt x="1064" y="557"/>
                    </a:cubicBezTo>
                    <a:cubicBezTo>
                      <a:pt x="1062" y="564"/>
                      <a:pt x="1060" y="571"/>
                      <a:pt x="1058" y="578"/>
                    </a:cubicBezTo>
                    <a:cubicBezTo>
                      <a:pt x="1058" y="578"/>
                      <a:pt x="1058" y="578"/>
                      <a:pt x="1058" y="578"/>
                    </a:cubicBezTo>
                    <a:cubicBezTo>
                      <a:pt x="1058" y="579"/>
                      <a:pt x="1058" y="579"/>
                      <a:pt x="1058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7" y="579"/>
                      <a:pt x="1057" y="579"/>
                      <a:pt x="1057" y="579"/>
                    </a:cubicBezTo>
                    <a:cubicBezTo>
                      <a:pt x="1055" y="585"/>
                      <a:pt x="1053" y="591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7"/>
                      <a:pt x="1050" y="597"/>
                    </a:cubicBezTo>
                    <a:cubicBezTo>
                      <a:pt x="1050" y="597"/>
                      <a:pt x="1050" y="599"/>
                      <a:pt x="1049" y="601"/>
                    </a:cubicBezTo>
                    <a:cubicBezTo>
                      <a:pt x="1045" y="611"/>
                      <a:pt x="1036" y="636"/>
                      <a:pt x="1023" y="666"/>
                    </a:cubicBezTo>
                    <a:cubicBezTo>
                      <a:pt x="1024" y="666"/>
                      <a:pt x="1024" y="666"/>
                      <a:pt x="1024" y="666"/>
                    </a:cubicBezTo>
                    <a:cubicBezTo>
                      <a:pt x="1024" y="667"/>
                      <a:pt x="1024" y="667"/>
                      <a:pt x="1024" y="667"/>
                    </a:cubicBezTo>
                    <a:cubicBezTo>
                      <a:pt x="1023" y="667"/>
                      <a:pt x="1023" y="667"/>
                      <a:pt x="1023" y="667"/>
                    </a:cubicBezTo>
                    <a:cubicBezTo>
                      <a:pt x="1011" y="694"/>
                      <a:pt x="996" y="725"/>
                      <a:pt x="981" y="751"/>
                    </a:cubicBezTo>
                    <a:cubicBezTo>
                      <a:pt x="980" y="751"/>
                      <a:pt x="980" y="752"/>
                      <a:pt x="979" y="753"/>
                    </a:cubicBezTo>
                    <a:cubicBezTo>
                      <a:pt x="980" y="753"/>
                      <a:pt x="980" y="753"/>
                      <a:pt x="980" y="753"/>
                    </a:cubicBezTo>
                    <a:cubicBezTo>
                      <a:pt x="980" y="754"/>
                      <a:pt x="980" y="754"/>
                      <a:pt x="980" y="754"/>
                    </a:cubicBezTo>
                    <a:cubicBezTo>
                      <a:pt x="979" y="754"/>
                      <a:pt x="979" y="754"/>
                      <a:pt x="979" y="754"/>
                    </a:cubicBezTo>
                    <a:cubicBezTo>
                      <a:pt x="971" y="766"/>
                      <a:pt x="965" y="777"/>
                      <a:pt x="958" y="786"/>
                    </a:cubicBezTo>
                    <a:cubicBezTo>
                      <a:pt x="959" y="786"/>
                      <a:pt x="959" y="786"/>
                      <a:pt x="959" y="786"/>
                    </a:cubicBezTo>
                    <a:cubicBezTo>
                      <a:pt x="959" y="787"/>
                      <a:pt x="959" y="787"/>
                      <a:pt x="959" y="787"/>
                    </a:cubicBezTo>
                    <a:cubicBezTo>
                      <a:pt x="958" y="787"/>
                      <a:pt x="958" y="787"/>
                      <a:pt x="958" y="787"/>
                    </a:cubicBezTo>
                    <a:cubicBezTo>
                      <a:pt x="953" y="795"/>
                      <a:pt x="948" y="802"/>
                      <a:pt x="944" y="808"/>
                    </a:cubicBezTo>
                    <a:cubicBezTo>
                      <a:pt x="932" y="824"/>
                      <a:pt x="920" y="837"/>
                      <a:pt x="898" y="850"/>
                    </a:cubicBezTo>
                    <a:cubicBezTo>
                      <a:pt x="886" y="858"/>
                      <a:pt x="878" y="862"/>
                      <a:pt x="871" y="865"/>
                    </a:cubicBezTo>
                    <a:cubicBezTo>
                      <a:pt x="864" y="868"/>
                      <a:pt x="859" y="869"/>
                      <a:pt x="854" y="869"/>
                    </a:cubicBezTo>
                    <a:cubicBezTo>
                      <a:pt x="854" y="869"/>
                      <a:pt x="854" y="869"/>
                      <a:pt x="854" y="869"/>
                    </a:cubicBezTo>
                    <a:cubicBezTo>
                      <a:pt x="848" y="869"/>
                      <a:pt x="841" y="867"/>
                      <a:pt x="829" y="865"/>
                    </a:cubicBezTo>
                    <a:cubicBezTo>
                      <a:pt x="804" y="860"/>
                      <a:pt x="786" y="846"/>
                      <a:pt x="769" y="821"/>
                    </a:cubicBezTo>
                    <a:cubicBezTo>
                      <a:pt x="767" y="818"/>
                      <a:pt x="765" y="815"/>
                      <a:pt x="763" y="813"/>
                    </a:cubicBezTo>
                    <a:cubicBezTo>
                      <a:pt x="759" y="805"/>
                      <a:pt x="754" y="797"/>
                      <a:pt x="749" y="787"/>
                    </a:cubicBezTo>
                    <a:cubicBezTo>
                      <a:pt x="748" y="787"/>
                      <a:pt x="748" y="787"/>
                      <a:pt x="748" y="787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8" y="786"/>
                      <a:pt x="748" y="786"/>
                      <a:pt x="748" y="786"/>
                    </a:cubicBezTo>
                    <a:cubicBezTo>
                      <a:pt x="743" y="777"/>
                      <a:pt x="739" y="766"/>
                      <a:pt x="734" y="754"/>
                    </a:cubicBezTo>
                    <a:cubicBezTo>
                      <a:pt x="733" y="754"/>
                      <a:pt x="733" y="754"/>
                      <a:pt x="733" y="754"/>
                    </a:cubicBezTo>
                    <a:cubicBezTo>
                      <a:pt x="733" y="753"/>
                      <a:pt x="733" y="753"/>
                      <a:pt x="733" y="753"/>
                    </a:cubicBezTo>
                    <a:cubicBezTo>
                      <a:pt x="734" y="753"/>
                      <a:pt x="734" y="753"/>
                      <a:pt x="734" y="753"/>
                    </a:cubicBezTo>
                    <a:cubicBezTo>
                      <a:pt x="724" y="728"/>
                      <a:pt x="716" y="699"/>
                      <a:pt x="713" y="667"/>
                    </a:cubicBezTo>
                    <a:cubicBezTo>
                      <a:pt x="712" y="667"/>
                      <a:pt x="712" y="667"/>
                      <a:pt x="712" y="667"/>
                    </a:cubicBezTo>
                    <a:cubicBezTo>
                      <a:pt x="712" y="666"/>
                      <a:pt x="712" y="666"/>
                      <a:pt x="712" y="666"/>
                    </a:cubicBezTo>
                    <a:cubicBezTo>
                      <a:pt x="713" y="666"/>
                      <a:pt x="713" y="666"/>
                      <a:pt x="713" y="666"/>
                    </a:cubicBezTo>
                    <a:cubicBezTo>
                      <a:pt x="713" y="666"/>
                      <a:pt x="712" y="666"/>
                      <a:pt x="712" y="665"/>
                    </a:cubicBezTo>
                    <a:cubicBezTo>
                      <a:pt x="710" y="662"/>
                      <a:pt x="695" y="638"/>
                      <a:pt x="684" y="579"/>
                    </a:cubicBezTo>
                    <a:cubicBezTo>
                      <a:pt x="683" y="579"/>
                      <a:pt x="683" y="579"/>
                      <a:pt x="683" y="579"/>
                    </a:cubicBezTo>
                    <a:cubicBezTo>
                      <a:pt x="683" y="578"/>
                      <a:pt x="683" y="578"/>
                      <a:pt x="683" y="578"/>
                    </a:cubicBezTo>
                    <a:cubicBezTo>
                      <a:pt x="684" y="578"/>
                      <a:pt x="684" y="578"/>
                      <a:pt x="684" y="578"/>
                    </a:cubicBezTo>
                    <a:cubicBezTo>
                      <a:pt x="682" y="571"/>
                      <a:pt x="681" y="565"/>
                      <a:pt x="680" y="557"/>
                    </a:cubicBezTo>
                    <a:cubicBezTo>
                      <a:pt x="679" y="557"/>
                      <a:pt x="679" y="557"/>
                      <a:pt x="679" y="557"/>
                    </a:cubicBezTo>
                    <a:cubicBezTo>
                      <a:pt x="679" y="556"/>
                      <a:pt x="679" y="556"/>
                      <a:pt x="679" y="556"/>
                    </a:cubicBezTo>
                    <a:cubicBezTo>
                      <a:pt x="680" y="556"/>
                      <a:pt x="680" y="556"/>
                      <a:pt x="680" y="556"/>
                    </a:cubicBezTo>
                    <a:cubicBezTo>
                      <a:pt x="676" y="530"/>
                      <a:pt x="673" y="497"/>
                      <a:pt x="671" y="459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1" y="458"/>
                      <a:pt x="671" y="458"/>
                      <a:pt x="671" y="458"/>
                    </a:cubicBezTo>
                    <a:cubicBezTo>
                      <a:pt x="670" y="458"/>
                      <a:pt x="670" y="458"/>
                      <a:pt x="670" y="458"/>
                    </a:cubicBezTo>
                    <a:cubicBezTo>
                      <a:pt x="669" y="458"/>
                      <a:pt x="669" y="458"/>
                      <a:pt x="669" y="458"/>
                    </a:cubicBezTo>
                    <a:cubicBezTo>
                      <a:pt x="669" y="459"/>
                      <a:pt x="669" y="459"/>
                      <a:pt x="669" y="459"/>
                    </a:cubicBezTo>
                    <a:cubicBezTo>
                      <a:pt x="669" y="467"/>
                      <a:pt x="668" y="505"/>
                      <a:pt x="658" y="556"/>
                    </a:cubicBezTo>
                    <a:cubicBezTo>
                      <a:pt x="659" y="556"/>
                      <a:pt x="659" y="556"/>
                      <a:pt x="659" y="556"/>
                    </a:cubicBezTo>
                    <a:cubicBezTo>
                      <a:pt x="659" y="557"/>
                      <a:pt x="659" y="557"/>
                      <a:pt x="659" y="557"/>
                    </a:cubicBezTo>
                    <a:cubicBezTo>
                      <a:pt x="658" y="557"/>
                      <a:pt x="658" y="557"/>
                      <a:pt x="658" y="557"/>
                    </a:cubicBezTo>
                    <a:cubicBezTo>
                      <a:pt x="652" y="590"/>
                      <a:pt x="642" y="627"/>
                      <a:pt x="625" y="666"/>
                    </a:cubicBezTo>
                    <a:cubicBezTo>
                      <a:pt x="626" y="666"/>
                      <a:pt x="626" y="666"/>
                      <a:pt x="626" y="666"/>
                    </a:cubicBezTo>
                    <a:cubicBezTo>
                      <a:pt x="626" y="667"/>
                      <a:pt x="626" y="667"/>
                      <a:pt x="626" y="667"/>
                    </a:cubicBezTo>
                    <a:cubicBezTo>
                      <a:pt x="625" y="667"/>
                      <a:pt x="625" y="667"/>
                      <a:pt x="625" y="667"/>
                    </a:cubicBezTo>
                    <a:cubicBezTo>
                      <a:pt x="625" y="668"/>
                      <a:pt x="625" y="668"/>
                      <a:pt x="625" y="668"/>
                    </a:cubicBezTo>
                    <a:cubicBezTo>
                      <a:pt x="624" y="676"/>
                      <a:pt x="619" y="708"/>
                      <a:pt x="598" y="753"/>
                    </a:cubicBezTo>
                    <a:cubicBezTo>
                      <a:pt x="599" y="753"/>
                      <a:pt x="599" y="753"/>
                      <a:pt x="599" y="753"/>
                    </a:cubicBezTo>
                    <a:cubicBezTo>
                      <a:pt x="599" y="754"/>
                      <a:pt x="599" y="754"/>
                      <a:pt x="599" y="754"/>
                    </a:cubicBezTo>
                    <a:cubicBezTo>
                      <a:pt x="598" y="754"/>
                      <a:pt x="598" y="754"/>
                      <a:pt x="598" y="754"/>
                    </a:cubicBezTo>
                    <a:cubicBezTo>
                      <a:pt x="595" y="761"/>
                      <a:pt x="592" y="768"/>
                      <a:pt x="588" y="776"/>
                    </a:cubicBezTo>
                    <a:cubicBezTo>
                      <a:pt x="588" y="776"/>
                      <a:pt x="588" y="776"/>
                      <a:pt x="588" y="77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6"/>
                      <a:pt x="584" y="786"/>
                      <a:pt x="584" y="786"/>
                    </a:cubicBezTo>
                    <a:cubicBezTo>
                      <a:pt x="584" y="787"/>
                      <a:pt x="584" y="787"/>
                      <a:pt x="584" y="787"/>
                    </a:cubicBezTo>
                    <a:cubicBezTo>
                      <a:pt x="583" y="787"/>
                      <a:pt x="583" y="787"/>
                      <a:pt x="583" y="787"/>
                    </a:cubicBezTo>
                    <a:cubicBezTo>
                      <a:pt x="580" y="798"/>
                      <a:pt x="576" y="804"/>
                      <a:pt x="570" y="815"/>
                    </a:cubicBezTo>
                    <a:cubicBezTo>
                      <a:pt x="562" y="826"/>
                      <a:pt x="554" y="837"/>
                      <a:pt x="549" y="843"/>
                    </a:cubicBezTo>
                    <a:cubicBezTo>
                      <a:pt x="546" y="847"/>
                      <a:pt x="541" y="851"/>
                      <a:pt x="536" y="854"/>
                    </a:cubicBezTo>
                    <a:cubicBezTo>
                      <a:pt x="528" y="859"/>
                      <a:pt x="518" y="863"/>
                      <a:pt x="506" y="863"/>
                    </a:cubicBezTo>
                    <a:cubicBezTo>
                      <a:pt x="505" y="863"/>
                      <a:pt x="504" y="863"/>
                      <a:pt x="503" y="863"/>
                    </a:cubicBezTo>
                    <a:cubicBezTo>
                      <a:pt x="502" y="863"/>
                      <a:pt x="502" y="863"/>
                      <a:pt x="502" y="863"/>
                    </a:cubicBezTo>
                    <a:cubicBezTo>
                      <a:pt x="491" y="863"/>
                      <a:pt x="481" y="859"/>
                      <a:pt x="475" y="854"/>
                    </a:cubicBezTo>
                    <a:cubicBezTo>
                      <a:pt x="472" y="852"/>
                      <a:pt x="469" y="850"/>
                      <a:pt x="468" y="849"/>
                    </a:cubicBezTo>
                    <a:cubicBezTo>
                      <a:pt x="467" y="848"/>
                      <a:pt x="466" y="847"/>
                      <a:pt x="466" y="847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65" y="846"/>
                      <a:pt x="465" y="846"/>
                      <a:pt x="465" y="846"/>
                    </a:cubicBezTo>
                    <a:cubicBezTo>
                      <a:pt x="450" y="834"/>
                      <a:pt x="437" y="818"/>
                      <a:pt x="427" y="803"/>
                    </a:cubicBezTo>
                    <a:cubicBezTo>
                      <a:pt x="424" y="798"/>
                      <a:pt x="421" y="792"/>
                      <a:pt x="418" y="787"/>
                    </a:cubicBezTo>
                    <a:cubicBezTo>
                      <a:pt x="417" y="787"/>
                      <a:pt x="417" y="787"/>
                      <a:pt x="417" y="787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7" y="786"/>
                      <a:pt x="417" y="786"/>
                      <a:pt x="417" y="786"/>
                    </a:cubicBezTo>
                    <a:cubicBezTo>
                      <a:pt x="414" y="781"/>
                      <a:pt x="412" y="776"/>
                      <a:pt x="410" y="772"/>
                    </a:cubicBezTo>
                    <a:cubicBezTo>
                      <a:pt x="408" y="768"/>
                      <a:pt x="407" y="764"/>
                      <a:pt x="406" y="762"/>
                    </a:cubicBezTo>
                    <a:cubicBezTo>
                      <a:pt x="405" y="759"/>
                      <a:pt x="404" y="758"/>
                      <a:pt x="404" y="758"/>
                    </a:cubicBezTo>
                    <a:cubicBezTo>
                      <a:pt x="404" y="758"/>
                      <a:pt x="404" y="757"/>
                      <a:pt x="403" y="754"/>
                    </a:cubicBezTo>
                    <a:cubicBezTo>
                      <a:pt x="402" y="754"/>
                      <a:pt x="402" y="754"/>
                      <a:pt x="402" y="754"/>
                    </a:cubicBezTo>
                    <a:cubicBezTo>
                      <a:pt x="402" y="753"/>
                      <a:pt x="402" y="753"/>
                      <a:pt x="402" y="753"/>
                    </a:cubicBezTo>
                    <a:cubicBezTo>
                      <a:pt x="403" y="753"/>
                      <a:pt x="403" y="753"/>
                      <a:pt x="403" y="753"/>
                    </a:cubicBezTo>
                    <a:cubicBezTo>
                      <a:pt x="402" y="752"/>
                      <a:pt x="402" y="752"/>
                      <a:pt x="402" y="751"/>
                    </a:cubicBezTo>
                    <a:cubicBezTo>
                      <a:pt x="397" y="737"/>
                      <a:pt x="387" y="704"/>
                      <a:pt x="383" y="667"/>
                    </a:cubicBezTo>
                    <a:cubicBezTo>
                      <a:pt x="382" y="667"/>
                      <a:pt x="382" y="667"/>
                      <a:pt x="382" y="667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6"/>
                      <a:pt x="382" y="666"/>
                    </a:cubicBezTo>
                    <a:cubicBezTo>
                      <a:pt x="382" y="666"/>
                      <a:pt x="382" y="665"/>
                      <a:pt x="381" y="663"/>
                    </a:cubicBezTo>
                    <a:cubicBezTo>
                      <a:pt x="377" y="653"/>
                      <a:pt x="363" y="619"/>
                      <a:pt x="355" y="579"/>
                    </a:cubicBezTo>
                    <a:cubicBezTo>
                      <a:pt x="353" y="579"/>
                      <a:pt x="353" y="579"/>
                      <a:pt x="353" y="579"/>
                    </a:cubicBezTo>
                    <a:cubicBezTo>
                      <a:pt x="353" y="578"/>
                      <a:pt x="353" y="578"/>
                      <a:pt x="353" y="578"/>
                    </a:cubicBezTo>
                    <a:cubicBezTo>
                      <a:pt x="354" y="578"/>
                      <a:pt x="354" y="578"/>
                      <a:pt x="354" y="578"/>
                    </a:cubicBezTo>
                    <a:cubicBezTo>
                      <a:pt x="353" y="571"/>
                      <a:pt x="351" y="564"/>
                      <a:pt x="350" y="557"/>
                    </a:cubicBezTo>
                    <a:cubicBezTo>
                      <a:pt x="349" y="557"/>
                      <a:pt x="349" y="557"/>
                      <a:pt x="349" y="557"/>
                    </a:cubicBezTo>
                    <a:cubicBezTo>
                      <a:pt x="349" y="556"/>
                      <a:pt x="349" y="556"/>
                      <a:pt x="349" y="556"/>
                    </a:cubicBezTo>
                    <a:cubicBezTo>
                      <a:pt x="350" y="556"/>
                      <a:pt x="350" y="556"/>
                      <a:pt x="350" y="556"/>
                    </a:cubicBezTo>
                    <a:cubicBezTo>
                      <a:pt x="350" y="552"/>
                      <a:pt x="349" y="548"/>
                      <a:pt x="349" y="543"/>
                    </a:cubicBezTo>
                    <a:cubicBezTo>
                      <a:pt x="345" y="513"/>
                      <a:pt x="343" y="486"/>
                      <a:pt x="342" y="466"/>
                    </a:cubicBezTo>
                    <a:cubicBezTo>
                      <a:pt x="341" y="457"/>
                      <a:pt x="340" y="449"/>
                      <a:pt x="340" y="443"/>
                    </a:cubicBezTo>
                    <a:cubicBezTo>
                      <a:pt x="339" y="438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9" y="435"/>
                      <a:pt x="339" y="435"/>
                      <a:pt x="339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8" y="435"/>
                      <a:pt x="338" y="435"/>
                      <a:pt x="338" y="435"/>
                    </a:cubicBezTo>
                    <a:cubicBezTo>
                      <a:pt x="337" y="435"/>
                      <a:pt x="337" y="435"/>
                      <a:pt x="337" y="435"/>
                    </a:cubicBezTo>
                    <a:cubicBezTo>
                      <a:pt x="337" y="435"/>
                      <a:pt x="337" y="440"/>
                      <a:pt x="336" y="449"/>
                    </a:cubicBezTo>
                    <a:cubicBezTo>
                      <a:pt x="335" y="473"/>
                      <a:pt x="330" y="524"/>
                      <a:pt x="319" y="556"/>
                    </a:cubicBezTo>
                    <a:cubicBezTo>
                      <a:pt x="319" y="556"/>
                      <a:pt x="319" y="556"/>
                      <a:pt x="319" y="556"/>
                    </a:cubicBezTo>
                    <a:cubicBezTo>
                      <a:pt x="319" y="557"/>
                      <a:pt x="319" y="557"/>
                      <a:pt x="319" y="557"/>
                    </a:cubicBezTo>
                    <a:cubicBezTo>
                      <a:pt x="318" y="557"/>
                      <a:pt x="318" y="557"/>
                      <a:pt x="318" y="557"/>
                    </a:cubicBezTo>
                    <a:cubicBezTo>
                      <a:pt x="318" y="559"/>
                      <a:pt x="317" y="561"/>
                      <a:pt x="316" y="562"/>
                    </a:cubicBezTo>
                    <a:cubicBezTo>
                      <a:pt x="308" y="583"/>
                      <a:pt x="296" y="609"/>
                      <a:pt x="287" y="630"/>
                    </a:cubicBezTo>
                    <a:cubicBezTo>
                      <a:pt x="282" y="640"/>
                      <a:pt x="278" y="649"/>
                      <a:pt x="275" y="656"/>
                    </a:cubicBezTo>
                    <a:cubicBezTo>
                      <a:pt x="273" y="662"/>
                      <a:pt x="271" y="666"/>
                      <a:pt x="271" y="666"/>
                    </a:cubicBezTo>
                    <a:cubicBezTo>
                      <a:pt x="272" y="666"/>
                      <a:pt x="272" y="666"/>
                      <a:pt x="272" y="666"/>
                    </a:cubicBezTo>
                    <a:cubicBezTo>
                      <a:pt x="272" y="667"/>
                      <a:pt x="272" y="667"/>
                      <a:pt x="272" y="667"/>
                    </a:cubicBezTo>
                    <a:cubicBezTo>
                      <a:pt x="270" y="667"/>
                      <a:pt x="270" y="667"/>
                      <a:pt x="270" y="667"/>
                    </a:cubicBezTo>
                    <a:cubicBezTo>
                      <a:pt x="270" y="668"/>
                      <a:pt x="270" y="668"/>
                      <a:pt x="270" y="668"/>
                    </a:cubicBezTo>
                    <a:cubicBezTo>
                      <a:pt x="268" y="677"/>
                      <a:pt x="259" y="712"/>
                      <a:pt x="234" y="753"/>
                    </a:cubicBezTo>
                    <a:cubicBezTo>
                      <a:pt x="235" y="753"/>
                      <a:pt x="235" y="753"/>
                      <a:pt x="235" y="753"/>
                    </a:cubicBezTo>
                    <a:cubicBezTo>
                      <a:pt x="235" y="754"/>
                      <a:pt x="235" y="754"/>
                      <a:pt x="235" y="754"/>
                    </a:cubicBezTo>
                    <a:cubicBezTo>
                      <a:pt x="234" y="754"/>
                      <a:pt x="234" y="754"/>
                      <a:pt x="234" y="754"/>
                    </a:cubicBezTo>
                    <a:cubicBezTo>
                      <a:pt x="232" y="757"/>
                      <a:pt x="230" y="759"/>
                      <a:pt x="229" y="762"/>
                    </a:cubicBezTo>
                    <a:cubicBezTo>
                      <a:pt x="223" y="771"/>
                      <a:pt x="218" y="778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4" y="785"/>
                      <a:pt x="214" y="785"/>
                      <a:pt x="214" y="785"/>
                    </a:cubicBezTo>
                    <a:cubicBezTo>
                      <a:pt x="210" y="791"/>
                      <a:pt x="206" y="796"/>
                      <a:pt x="203" y="800"/>
                    </a:cubicBezTo>
                    <a:cubicBezTo>
                      <a:pt x="189" y="821"/>
                      <a:pt x="181" y="828"/>
                      <a:pt x="170" y="836"/>
                    </a:cubicBezTo>
                    <a:cubicBezTo>
                      <a:pt x="162" y="841"/>
                      <a:pt x="150" y="849"/>
                      <a:pt x="136" y="854"/>
                    </a:cubicBezTo>
                    <a:cubicBezTo>
                      <a:pt x="127" y="857"/>
                      <a:pt x="117" y="860"/>
                      <a:pt x="108" y="860"/>
                    </a:cubicBezTo>
                    <a:cubicBezTo>
                      <a:pt x="104" y="860"/>
                      <a:pt x="100" y="859"/>
                      <a:pt x="96" y="858"/>
                    </a:cubicBezTo>
                    <a:cubicBezTo>
                      <a:pt x="83" y="855"/>
                      <a:pt x="72" y="844"/>
                      <a:pt x="64" y="830"/>
                    </a:cubicBezTo>
                    <a:cubicBezTo>
                      <a:pt x="55" y="816"/>
                      <a:pt x="50" y="799"/>
                      <a:pt x="47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6" y="785"/>
                      <a:pt x="46" y="785"/>
                      <a:pt x="46" y="785"/>
                    </a:cubicBezTo>
                    <a:cubicBezTo>
                      <a:pt x="47" y="785"/>
                      <a:pt x="47" y="785"/>
                      <a:pt x="47" y="785"/>
                    </a:cubicBezTo>
                    <a:cubicBezTo>
                      <a:pt x="47" y="784"/>
                      <a:pt x="47" y="784"/>
                      <a:pt x="47" y="784"/>
                    </a:cubicBezTo>
                    <a:cubicBezTo>
                      <a:pt x="46" y="784"/>
                      <a:pt x="46" y="784"/>
                      <a:pt x="46" y="784"/>
                    </a:cubicBezTo>
                    <a:cubicBezTo>
                      <a:pt x="46" y="784"/>
                      <a:pt x="42" y="780"/>
                      <a:pt x="38" y="764"/>
                    </a:cubicBezTo>
                    <a:cubicBezTo>
                      <a:pt x="38" y="761"/>
                      <a:pt x="37" y="758"/>
                      <a:pt x="36" y="754"/>
                    </a:cubicBezTo>
                    <a:cubicBezTo>
                      <a:pt x="36" y="754"/>
                      <a:pt x="36" y="754"/>
                      <a:pt x="36" y="754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6" y="753"/>
                      <a:pt x="36" y="753"/>
                      <a:pt x="36" y="753"/>
                    </a:cubicBezTo>
                    <a:cubicBezTo>
                      <a:pt x="33" y="736"/>
                      <a:pt x="30" y="709"/>
                      <a:pt x="28" y="667"/>
                    </a:cubicBezTo>
                    <a:cubicBezTo>
                      <a:pt x="27" y="667"/>
                      <a:pt x="27" y="667"/>
                      <a:pt x="27" y="667"/>
                    </a:cubicBezTo>
                    <a:cubicBezTo>
                      <a:pt x="27" y="666"/>
                      <a:pt x="27" y="666"/>
                      <a:pt x="27" y="666"/>
                    </a:cubicBezTo>
                    <a:cubicBezTo>
                      <a:pt x="28" y="666"/>
                      <a:pt x="28" y="666"/>
                      <a:pt x="28" y="666"/>
                    </a:cubicBezTo>
                    <a:cubicBezTo>
                      <a:pt x="28" y="665"/>
                      <a:pt x="27" y="663"/>
                      <a:pt x="26" y="659"/>
                    </a:cubicBezTo>
                    <a:cubicBezTo>
                      <a:pt x="23" y="646"/>
                      <a:pt x="16" y="616"/>
                      <a:pt x="11" y="579"/>
                    </a:cubicBezTo>
                    <a:cubicBezTo>
                      <a:pt x="10" y="579"/>
                      <a:pt x="10" y="579"/>
                      <a:pt x="10" y="579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8"/>
                      <a:pt x="10" y="578"/>
                      <a:pt x="10" y="578"/>
                    </a:cubicBezTo>
                    <a:cubicBezTo>
                      <a:pt x="10" y="577"/>
                      <a:pt x="10" y="576"/>
                      <a:pt x="10" y="574"/>
                    </a:cubicBezTo>
                    <a:cubicBezTo>
                      <a:pt x="10" y="574"/>
                      <a:pt x="10" y="574"/>
                      <a:pt x="10" y="574"/>
                    </a:cubicBezTo>
                    <a:cubicBezTo>
                      <a:pt x="9" y="557"/>
                      <a:pt x="9" y="557"/>
                      <a:pt x="9" y="557"/>
                    </a:cubicBezTo>
                    <a:cubicBezTo>
                      <a:pt x="8" y="557"/>
                      <a:pt x="8" y="557"/>
                      <a:pt x="8" y="557"/>
                    </a:cubicBezTo>
                    <a:cubicBezTo>
                      <a:pt x="8" y="556"/>
                      <a:pt x="8" y="556"/>
                      <a:pt x="8" y="556"/>
                    </a:cubicBezTo>
                    <a:cubicBezTo>
                      <a:pt x="9" y="556"/>
                      <a:pt x="9" y="556"/>
                      <a:pt x="9" y="556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51"/>
                      <a:pt x="8" y="551"/>
                    </a:cubicBezTo>
                    <a:cubicBezTo>
                      <a:pt x="8" y="551"/>
                      <a:pt x="8" y="548"/>
                      <a:pt x="7" y="543"/>
                    </a:cubicBezTo>
                    <a:cubicBezTo>
                      <a:pt x="5" y="526"/>
                      <a:pt x="1" y="488"/>
                      <a:pt x="1" y="452"/>
                    </a:cubicBezTo>
                    <a:cubicBezTo>
                      <a:pt x="1" y="445"/>
                      <a:pt x="1" y="439"/>
                      <a:pt x="1" y="432"/>
                    </a:cubicBezTo>
                    <a:cubicBezTo>
                      <a:pt x="1" y="432"/>
                      <a:pt x="1" y="432"/>
                      <a:pt x="1" y="432"/>
                    </a:cubicBezTo>
                    <a:cubicBezTo>
                      <a:pt x="2" y="430"/>
                      <a:pt x="2" y="428"/>
                      <a:pt x="2" y="426"/>
                    </a:cubicBezTo>
                    <a:cubicBezTo>
                      <a:pt x="1" y="426"/>
                      <a:pt x="1" y="426"/>
                      <a:pt x="1" y="426"/>
                    </a:cubicBezTo>
                    <a:cubicBezTo>
                      <a:pt x="1" y="425"/>
                      <a:pt x="1" y="425"/>
                      <a:pt x="1" y="425"/>
                    </a:cubicBezTo>
                    <a:cubicBezTo>
                      <a:pt x="2" y="425"/>
                      <a:pt x="2" y="425"/>
                      <a:pt x="2" y="425"/>
                    </a:cubicBezTo>
                    <a:cubicBezTo>
                      <a:pt x="4" y="400"/>
                      <a:pt x="9" y="375"/>
                      <a:pt x="14" y="355"/>
                    </a:cubicBezTo>
                    <a:cubicBezTo>
                      <a:pt x="17" y="345"/>
                      <a:pt x="19" y="336"/>
                      <a:pt x="21" y="329"/>
                    </a:cubicBezTo>
                    <a:cubicBezTo>
                      <a:pt x="22" y="327"/>
                      <a:pt x="23" y="325"/>
                      <a:pt x="23" y="324"/>
                    </a:cubicBezTo>
                    <a:cubicBezTo>
                      <a:pt x="22" y="324"/>
                      <a:pt x="22" y="324"/>
                      <a:pt x="22" y="324"/>
                    </a:cubicBezTo>
                    <a:cubicBezTo>
                      <a:pt x="22" y="323"/>
                      <a:pt x="22" y="323"/>
                      <a:pt x="22" y="323"/>
                    </a:cubicBezTo>
                    <a:cubicBezTo>
                      <a:pt x="23" y="323"/>
                      <a:pt x="23" y="323"/>
                      <a:pt x="23" y="323"/>
                    </a:cubicBezTo>
                    <a:cubicBezTo>
                      <a:pt x="24" y="321"/>
                      <a:pt x="24" y="319"/>
                      <a:pt x="25" y="319"/>
                    </a:cubicBezTo>
                    <a:cubicBezTo>
                      <a:pt x="25" y="319"/>
                      <a:pt x="25" y="319"/>
                      <a:pt x="25" y="319"/>
                    </a:cubicBezTo>
                    <a:cubicBezTo>
                      <a:pt x="26" y="316"/>
                      <a:pt x="27" y="313"/>
                      <a:pt x="28" y="310"/>
                    </a:cubicBezTo>
                    <a:cubicBezTo>
                      <a:pt x="27" y="310"/>
                      <a:pt x="27" y="310"/>
                      <a:pt x="27" y="310"/>
                    </a:cubicBezTo>
                    <a:cubicBezTo>
                      <a:pt x="27" y="309"/>
                      <a:pt x="27" y="309"/>
                      <a:pt x="27" y="309"/>
                    </a:cubicBezTo>
                    <a:cubicBezTo>
                      <a:pt x="29" y="309"/>
                      <a:pt x="29" y="309"/>
                      <a:pt x="29" y="309"/>
                    </a:cubicBezTo>
                    <a:cubicBezTo>
                      <a:pt x="30" y="306"/>
                      <a:pt x="31" y="303"/>
                      <a:pt x="32" y="300"/>
                    </a:cubicBezTo>
                    <a:cubicBezTo>
                      <a:pt x="51" y="258"/>
                      <a:pt x="64" y="235"/>
                      <a:pt x="72" y="223"/>
                    </a:cubicBezTo>
                    <a:cubicBezTo>
                      <a:pt x="76" y="217"/>
                      <a:pt x="79" y="213"/>
                      <a:pt x="81" y="211"/>
                    </a:cubicBezTo>
                    <a:cubicBezTo>
                      <a:pt x="82" y="210"/>
                      <a:pt x="83" y="210"/>
                      <a:pt x="83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4" y="209"/>
                      <a:pt x="84" y="209"/>
                      <a:pt x="84" y="209"/>
                    </a:cubicBezTo>
                    <a:cubicBezTo>
                      <a:pt x="83" y="209"/>
                      <a:pt x="83" y="209"/>
                      <a:pt x="83" y="209"/>
                    </a:cubicBezTo>
                    <a:cubicBezTo>
                      <a:pt x="83" y="208"/>
                      <a:pt x="83" y="208"/>
                      <a:pt x="83" y="208"/>
                    </a:cubicBezTo>
                    <a:cubicBezTo>
                      <a:pt x="85" y="208"/>
                      <a:pt x="85" y="208"/>
                      <a:pt x="85" y="208"/>
                    </a:cubicBezTo>
                    <a:cubicBezTo>
                      <a:pt x="85" y="207"/>
                      <a:pt x="85" y="206"/>
                      <a:pt x="86" y="205"/>
                    </a:cubicBezTo>
                    <a:cubicBezTo>
                      <a:pt x="90" y="194"/>
                      <a:pt x="106" y="154"/>
                      <a:pt x="137" y="112"/>
                    </a:cubicBezTo>
                    <a:cubicBezTo>
                      <a:pt x="136" y="112"/>
                      <a:pt x="136" y="112"/>
                      <a:pt x="136" y="112"/>
                    </a:cubicBezTo>
                    <a:cubicBezTo>
                      <a:pt x="136" y="111"/>
                      <a:pt x="136" y="111"/>
                      <a:pt x="136" y="111"/>
                    </a:cubicBezTo>
                    <a:cubicBezTo>
                      <a:pt x="137" y="111"/>
                      <a:pt x="137" y="111"/>
                      <a:pt x="137" y="111"/>
                    </a:cubicBezTo>
                    <a:cubicBezTo>
                      <a:pt x="145" y="101"/>
                      <a:pt x="153" y="91"/>
                      <a:pt x="162" y="81"/>
                    </a:cubicBezTo>
                    <a:cubicBezTo>
                      <a:pt x="162" y="81"/>
                      <a:pt x="162" y="81"/>
                      <a:pt x="162" y="81"/>
                    </a:cubicBezTo>
                    <a:cubicBezTo>
                      <a:pt x="162" y="80"/>
                      <a:pt x="162" y="80"/>
                      <a:pt x="162" y="80"/>
                    </a:cubicBezTo>
                    <a:cubicBezTo>
                      <a:pt x="163" y="80"/>
                      <a:pt x="163" y="80"/>
                      <a:pt x="163" y="80"/>
                    </a:cubicBezTo>
                    <a:cubicBezTo>
                      <a:pt x="164" y="80"/>
                      <a:pt x="165" y="79"/>
                      <a:pt x="165" y="78"/>
                    </a:cubicBezTo>
                    <a:moveTo>
                      <a:pt x="347" y="0"/>
                    </a:moveTo>
                    <a:cubicBezTo>
                      <a:pt x="315" y="0"/>
                      <a:pt x="315" y="0"/>
                      <a:pt x="315" y="0"/>
                    </a:cubicBezTo>
                    <a:cubicBezTo>
                      <a:pt x="304" y="1"/>
                      <a:pt x="296" y="2"/>
                      <a:pt x="291" y="3"/>
                    </a:cubicBezTo>
                    <a:cubicBezTo>
                      <a:pt x="285" y="4"/>
                      <a:pt x="270" y="10"/>
                      <a:pt x="255" y="16"/>
                    </a:cubicBezTo>
                    <a:cubicBezTo>
                      <a:pt x="239" y="23"/>
                      <a:pt x="223" y="31"/>
                      <a:pt x="214" y="36"/>
                    </a:cubicBezTo>
                    <a:cubicBezTo>
                      <a:pt x="204" y="43"/>
                      <a:pt x="190" y="54"/>
                      <a:pt x="179" y="63"/>
                    </a:cubicBezTo>
                    <a:cubicBezTo>
                      <a:pt x="177" y="65"/>
                      <a:pt x="174" y="68"/>
                      <a:pt x="172" y="69"/>
                    </a:cubicBezTo>
                    <a:cubicBezTo>
                      <a:pt x="167" y="74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64" y="76"/>
                      <a:pt x="164" y="76"/>
                      <a:pt x="164" y="76"/>
                    </a:cubicBezTo>
                    <a:cubicBezTo>
                      <a:pt x="108" y="134"/>
                      <a:pt x="85" y="202"/>
                      <a:pt x="83" y="207"/>
                    </a:cubicBezTo>
                    <a:cubicBezTo>
                      <a:pt x="81" y="208"/>
                      <a:pt x="78" y="211"/>
                      <a:pt x="70" y="222"/>
                    </a:cubicBezTo>
                    <a:cubicBezTo>
                      <a:pt x="62" y="234"/>
                      <a:pt x="49" y="257"/>
                      <a:pt x="30" y="299"/>
                    </a:cubicBezTo>
                    <a:cubicBezTo>
                      <a:pt x="28" y="306"/>
                      <a:pt x="25" y="312"/>
                      <a:pt x="23" y="318"/>
                    </a:cubicBezTo>
                    <a:cubicBezTo>
                      <a:pt x="23" y="318"/>
                      <a:pt x="23" y="318"/>
                      <a:pt x="23" y="318"/>
                    </a:cubicBezTo>
                    <a:cubicBezTo>
                      <a:pt x="23" y="318"/>
                      <a:pt x="3" y="377"/>
                      <a:pt x="0" y="430"/>
                    </a:cubicBezTo>
                    <a:cubicBezTo>
                      <a:pt x="0" y="476"/>
                      <a:pt x="0" y="476"/>
                      <a:pt x="0" y="476"/>
                    </a:cubicBezTo>
                    <a:cubicBezTo>
                      <a:pt x="1" y="516"/>
                      <a:pt x="6" y="551"/>
                      <a:pt x="6" y="551"/>
                    </a:cubicBezTo>
                    <a:cubicBezTo>
                      <a:pt x="6" y="551"/>
                      <a:pt x="6" y="551"/>
                      <a:pt x="6" y="551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8" y="575"/>
                      <a:pt x="8" y="575"/>
                      <a:pt x="8" y="575"/>
                    </a:cubicBezTo>
                    <a:cubicBezTo>
                      <a:pt x="15" y="626"/>
                      <a:pt x="25" y="664"/>
                      <a:pt x="26" y="667"/>
                    </a:cubicBezTo>
                    <a:cubicBezTo>
                      <a:pt x="29" y="724"/>
                      <a:pt x="33" y="753"/>
                      <a:pt x="38" y="769"/>
                    </a:cubicBezTo>
                    <a:cubicBezTo>
                      <a:pt x="41" y="782"/>
                      <a:pt x="44" y="785"/>
                      <a:pt x="45" y="786"/>
                    </a:cubicBezTo>
                    <a:cubicBezTo>
                      <a:pt x="48" y="800"/>
                      <a:pt x="54" y="817"/>
                      <a:pt x="62" y="831"/>
                    </a:cubicBezTo>
                    <a:cubicBezTo>
                      <a:pt x="71" y="845"/>
                      <a:pt x="82" y="857"/>
                      <a:pt x="96" y="860"/>
                    </a:cubicBezTo>
                    <a:cubicBezTo>
                      <a:pt x="100" y="861"/>
                      <a:pt x="104" y="862"/>
                      <a:pt x="108" y="862"/>
                    </a:cubicBezTo>
                    <a:cubicBezTo>
                      <a:pt x="118" y="862"/>
                      <a:pt x="128" y="859"/>
                      <a:pt x="137" y="855"/>
                    </a:cubicBezTo>
                    <a:cubicBezTo>
                      <a:pt x="151" y="850"/>
                      <a:pt x="163" y="843"/>
                      <a:pt x="171" y="837"/>
                    </a:cubicBezTo>
                    <a:cubicBezTo>
                      <a:pt x="182" y="830"/>
                      <a:pt x="190" y="822"/>
                      <a:pt x="205" y="802"/>
                    </a:cubicBezTo>
                    <a:cubicBezTo>
                      <a:pt x="212" y="792"/>
                      <a:pt x="220" y="780"/>
                      <a:pt x="230" y="763"/>
                    </a:cubicBezTo>
                    <a:cubicBezTo>
                      <a:pt x="263" y="713"/>
                      <a:pt x="272" y="669"/>
                      <a:pt x="273" y="667"/>
                    </a:cubicBezTo>
                    <a:cubicBezTo>
                      <a:pt x="274" y="664"/>
                      <a:pt x="301" y="604"/>
                      <a:pt x="318" y="563"/>
                    </a:cubicBezTo>
                    <a:cubicBezTo>
                      <a:pt x="327" y="542"/>
                      <a:pt x="332" y="510"/>
                      <a:pt x="335" y="483"/>
                    </a:cubicBezTo>
                    <a:cubicBezTo>
                      <a:pt x="337" y="470"/>
                      <a:pt x="338" y="459"/>
                      <a:pt x="338" y="450"/>
                    </a:cubicBezTo>
                    <a:cubicBezTo>
                      <a:pt x="340" y="469"/>
                      <a:pt x="342" y="504"/>
                      <a:pt x="347" y="544"/>
                    </a:cubicBezTo>
                    <a:cubicBezTo>
                      <a:pt x="353" y="602"/>
                      <a:pt x="379" y="663"/>
                      <a:pt x="381" y="667"/>
                    </a:cubicBezTo>
                    <a:cubicBezTo>
                      <a:pt x="386" y="716"/>
                      <a:pt x="402" y="757"/>
                      <a:pt x="402" y="759"/>
                    </a:cubicBezTo>
                    <a:cubicBezTo>
                      <a:pt x="402" y="759"/>
                      <a:pt x="402" y="759"/>
                      <a:pt x="402" y="759"/>
                    </a:cubicBezTo>
                    <a:cubicBezTo>
                      <a:pt x="402" y="759"/>
                      <a:pt x="410" y="780"/>
                      <a:pt x="426" y="805"/>
                    </a:cubicBezTo>
                    <a:cubicBezTo>
                      <a:pt x="435" y="819"/>
                      <a:pt x="448" y="835"/>
                      <a:pt x="464" y="848"/>
                    </a:cubicBezTo>
                    <a:cubicBezTo>
                      <a:pt x="465" y="849"/>
                      <a:pt x="479" y="865"/>
                      <a:pt x="502" y="865"/>
                    </a:cubicBezTo>
                    <a:cubicBezTo>
                      <a:pt x="503" y="865"/>
                      <a:pt x="503" y="865"/>
                      <a:pt x="503" y="865"/>
                    </a:cubicBezTo>
                    <a:cubicBezTo>
                      <a:pt x="504" y="865"/>
                      <a:pt x="505" y="865"/>
                      <a:pt x="506" y="865"/>
                    </a:cubicBezTo>
                    <a:cubicBezTo>
                      <a:pt x="519" y="865"/>
                      <a:pt x="529" y="861"/>
                      <a:pt x="537" y="856"/>
                    </a:cubicBezTo>
                    <a:cubicBezTo>
                      <a:pt x="542" y="853"/>
                      <a:pt x="547" y="848"/>
                      <a:pt x="551" y="844"/>
                    </a:cubicBezTo>
                    <a:cubicBezTo>
                      <a:pt x="556" y="838"/>
                      <a:pt x="564" y="828"/>
                      <a:pt x="571" y="816"/>
                    </a:cubicBezTo>
                    <a:cubicBezTo>
                      <a:pt x="578" y="805"/>
                      <a:pt x="583" y="798"/>
                      <a:pt x="586" y="786"/>
                    </a:cubicBezTo>
                    <a:cubicBezTo>
                      <a:pt x="586" y="786"/>
                      <a:pt x="586" y="786"/>
                      <a:pt x="586" y="786"/>
                    </a:cubicBezTo>
                    <a:cubicBezTo>
                      <a:pt x="590" y="776"/>
                      <a:pt x="590" y="776"/>
                      <a:pt x="590" y="776"/>
                    </a:cubicBezTo>
                    <a:cubicBezTo>
                      <a:pt x="622" y="713"/>
                      <a:pt x="627" y="669"/>
                      <a:pt x="627" y="667"/>
                    </a:cubicBezTo>
                    <a:cubicBezTo>
                      <a:pt x="659" y="590"/>
                      <a:pt x="668" y="517"/>
                      <a:pt x="670" y="481"/>
                    </a:cubicBezTo>
                    <a:cubicBezTo>
                      <a:pt x="679" y="617"/>
                      <a:pt x="708" y="663"/>
                      <a:pt x="711" y="667"/>
                    </a:cubicBezTo>
                    <a:cubicBezTo>
                      <a:pt x="716" y="730"/>
                      <a:pt x="742" y="783"/>
                      <a:pt x="762" y="814"/>
                    </a:cubicBezTo>
                    <a:cubicBezTo>
                      <a:pt x="763" y="817"/>
                      <a:pt x="765" y="819"/>
                      <a:pt x="767" y="822"/>
                    </a:cubicBezTo>
                    <a:cubicBezTo>
                      <a:pt x="785" y="848"/>
                      <a:pt x="803" y="862"/>
                      <a:pt x="829" y="867"/>
                    </a:cubicBezTo>
                    <a:cubicBezTo>
                      <a:pt x="840" y="869"/>
                      <a:pt x="847" y="871"/>
                      <a:pt x="854" y="871"/>
                    </a:cubicBezTo>
                    <a:cubicBezTo>
                      <a:pt x="860" y="871"/>
                      <a:pt x="865" y="870"/>
                      <a:pt x="872" y="867"/>
                    </a:cubicBezTo>
                    <a:cubicBezTo>
                      <a:pt x="879" y="864"/>
                      <a:pt x="887" y="859"/>
                      <a:pt x="899" y="852"/>
                    </a:cubicBezTo>
                    <a:cubicBezTo>
                      <a:pt x="921" y="839"/>
                      <a:pt x="934" y="825"/>
                      <a:pt x="945" y="809"/>
                    </a:cubicBezTo>
                    <a:cubicBezTo>
                      <a:pt x="957" y="794"/>
                      <a:pt x="967" y="776"/>
                      <a:pt x="982" y="752"/>
                    </a:cubicBezTo>
                    <a:cubicBezTo>
                      <a:pt x="1020" y="689"/>
                      <a:pt x="1052" y="598"/>
                      <a:pt x="1052" y="598"/>
                    </a:cubicBezTo>
                    <a:cubicBezTo>
                      <a:pt x="1052" y="598"/>
                      <a:pt x="1052" y="598"/>
                      <a:pt x="1052" y="598"/>
                    </a:cubicBezTo>
                    <a:cubicBezTo>
                      <a:pt x="1075" y="545"/>
                      <a:pt x="1083" y="480"/>
                      <a:pt x="1086" y="456"/>
                    </a:cubicBezTo>
                    <a:cubicBezTo>
                      <a:pt x="1090" y="487"/>
                      <a:pt x="1104" y="589"/>
                      <a:pt x="1132" y="655"/>
                    </a:cubicBezTo>
                    <a:cubicBezTo>
                      <a:pt x="1156" y="712"/>
                      <a:pt x="1179" y="748"/>
                      <a:pt x="1228" y="798"/>
                    </a:cubicBezTo>
                    <a:cubicBezTo>
                      <a:pt x="1235" y="804"/>
                      <a:pt x="1241" y="811"/>
                      <a:pt x="1249" y="818"/>
                    </a:cubicBezTo>
                    <a:cubicBezTo>
                      <a:pt x="1289" y="856"/>
                      <a:pt x="1321" y="869"/>
                      <a:pt x="1345" y="872"/>
                    </a:cubicBezTo>
                    <a:cubicBezTo>
                      <a:pt x="1366" y="872"/>
                      <a:pt x="1366" y="872"/>
                      <a:pt x="1366" y="872"/>
                    </a:cubicBezTo>
                    <a:cubicBezTo>
                      <a:pt x="1371" y="871"/>
                      <a:pt x="1377" y="870"/>
                      <a:pt x="1382" y="869"/>
                    </a:cubicBezTo>
                    <a:cubicBezTo>
                      <a:pt x="1396" y="866"/>
                      <a:pt x="1408" y="850"/>
                      <a:pt x="1416" y="836"/>
                    </a:cubicBezTo>
                    <a:cubicBezTo>
                      <a:pt x="1425" y="822"/>
                      <a:pt x="1430" y="808"/>
                      <a:pt x="1430" y="807"/>
                    </a:cubicBezTo>
                    <a:cubicBezTo>
                      <a:pt x="1430" y="807"/>
                      <a:pt x="1430" y="807"/>
                      <a:pt x="1430" y="807"/>
                    </a:cubicBezTo>
                    <a:cubicBezTo>
                      <a:pt x="1430" y="807"/>
                      <a:pt x="1457" y="750"/>
                      <a:pt x="1479" y="614"/>
                    </a:cubicBezTo>
                    <a:cubicBezTo>
                      <a:pt x="1487" y="564"/>
                      <a:pt x="1492" y="527"/>
                      <a:pt x="1494" y="496"/>
                    </a:cubicBezTo>
                    <a:cubicBezTo>
                      <a:pt x="1494" y="456"/>
                      <a:pt x="1494" y="456"/>
                      <a:pt x="1494" y="456"/>
                    </a:cubicBezTo>
                    <a:cubicBezTo>
                      <a:pt x="1492" y="426"/>
                      <a:pt x="1486" y="399"/>
                      <a:pt x="1474" y="366"/>
                    </a:cubicBezTo>
                    <a:cubicBezTo>
                      <a:pt x="1448" y="293"/>
                      <a:pt x="1362" y="221"/>
                      <a:pt x="1347" y="209"/>
                    </a:cubicBezTo>
                    <a:cubicBezTo>
                      <a:pt x="1409" y="209"/>
                      <a:pt x="1409" y="209"/>
                      <a:pt x="1409" y="209"/>
                    </a:cubicBezTo>
                    <a:cubicBezTo>
                      <a:pt x="1407" y="208"/>
                      <a:pt x="1407" y="208"/>
                      <a:pt x="1407" y="208"/>
                    </a:cubicBezTo>
                    <a:cubicBezTo>
                      <a:pt x="1383" y="178"/>
                      <a:pt x="1351" y="155"/>
                      <a:pt x="1327" y="138"/>
                    </a:cubicBezTo>
                    <a:cubicBezTo>
                      <a:pt x="1325" y="137"/>
                      <a:pt x="1323" y="136"/>
                      <a:pt x="1322" y="135"/>
                    </a:cubicBezTo>
                    <a:cubicBezTo>
                      <a:pt x="1320" y="134"/>
                      <a:pt x="1319" y="133"/>
                      <a:pt x="1318" y="132"/>
                    </a:cubicBezTo>
                    <a:cubicBezTo>
                      <a:pt x="1303" y="122"/>
                      <a:pt x="1293" y="117"/>
                      <a:pt x="1293" y="117"/>
                    </a:cubicBezTo>
                    <a:cubicBezTo>
                      <a:pt x="1284" y="112"/>
                      <a:pt x="1275" y="107"/>
                      <a:pt x="1267" y="102"/>
                    </a:cubicBezTo>
                    <a:cubicBezTo>
                      <a:pt x="1256" y="97"/>
                      <a:pt x="1246" y="91"/>
                      <a:pt x="1236" y="87"/>
                    </a:cubicBezTo>
                    <a:cubicBezTo>
                      <a:pt x="1233" y="85"/>
                      <a:pt x="1229" y="83"/>
                      <a:pt x="1225" y="81"/>
                    </a:cubicBezTo>
                    <a:cubicBezTo>
                      <a:pt x="1222" y="80"/>
                      <a:pt x="1218" y="78"/>
                      <a:pt x="1215" y="76"/>
                    </a:cubicBezTo>
                    <a:cubicBezTo>
                      <a:pt x="1211" y="74"/>
                      <a:pt x="1207" y="73"/>
                      <a:pt x="1204" y="71"/>
                    </a:cubicBezTo>
                    <a:cubicBezTo>
                      <a:pt x="1130" y="38"/>
                      <a:pt x="1083" y="29"/>
                      <a:pt x="1030" y="17"/>
                    </a:cubicBezTo>
                    <a:cubicBezTo>
                      <a:pt x="972" y="5"/>
                      <a:pt x="918" y="4"/>
                      <a:pt x="900" y="4"/>
                    </a:cubicBezTo>
                    <a:cubicBezTo>
                      <a:pt x="897" y="4"/>
                      <a:pt x="895" y="4"/>
                      <a:pt x="894" y="4"/>
                    </a:cubicBezTo>
                    <a:cubicBezTo>
                      <a:pt x="890" y="4"/>
                      <a:pt x="885" y="3"/>
                      <a:pt x="881" y="3"/>
                    </a:cubicBezTo>
                    <a:cubicBezTo>
                      <a:pt x="848" y="3"/>
                      <a:pt x="819" y="11"/>
                      <a:pt x="794" y="22"/>
                    </a:cubicBezTo>
                    <a:cubicBezTo>
                      <a:pt x="774" y="31"/>
                      <a:pt x="757" y="42"/>
                      <a:pt x="742" y="53"/>
                    </a:cubicBezTo>
                    <a:cubicBezTo>
                      <a:pt x="718" y="71"/>
                      <a:pt x="701" y="89"/>
                      <a:pt x="692" y="100"/>
                    </a:cubicBezTo>
                    <a:cubicBezTo>
                      <a:pt x="687" y="107"/>
                      <a:pt x="684" y="111"/>
                      <a:pt x="684" y="111"/>
                    </a:cubicBezTo>
                    <a:cubicBezTo>
                      <a:pt x="683" y="112"/>
                      <a:pt x="683" y="112"/>
                      <a:pt x="683" y="112"/>
                    </a:cubicBezTo>
                    <a:cubicBezTo>
                      <a:pt x="705" y="112"/>
                      <a:pt x="705" y="112"/>
                      <a:pt x="705" y="112"/>
                    </a:cubicBezTo>
                    <a:cubicBezTo>
                      <a:pt x="699" y="120"/>
                      <a:pt x="676" y="149"/>
                      <a:pt x="658" y="208"/>
                    </a:cubicBezTo>
                    <a:cubicBezTo>
                      <a:pt x="655" y="211"/>
                      <a:pt x="603" y="279"/>
                      <a:pt x="590" y="385"/>
                    </a:cubicBezTo>
                    <a:cubicBezTo>
                      <a:pt x="589" y="398"/>
                      <a:pt x="589" y="398"/>
                      <a:pt x="589" y="398"/>
                    </a:cubicBezTo>
                    <a:cubicBezTo>
                      <a:pt x="584" y="364"/>
                      <a:pt x="577" y="331"/>
                      <a:pt x="577" y="331"/>
                    </a:cubicBezTo>
                    <a:cubicBezTo>
                      <a:pt x="577" y="331"/>
                      <a:pt x="577" y="331"/>
                      <a:pt x="577" y="331"/>
                    </a:cubicBezTo>
                    <a:cubicBezTo>
                      <a:pt x="563" y="256"/>
                      <a:pt x="529" y="211"/>
                      <a:pt x="527" y="208"/>
                    </a:cubicBezTo>
                    <a:cubicBezTo>
                      <a:pt x="518" y="174"/>
                      <a:pt x="492" y="122"/>
                      <a:pt x="487" y="113"/>
                    </a:cubicBezTo>
                    <a:cubicBezTo>
                      <a:pt x="569" y="113"/>
                      <a:pt x="569" y="113"/>
                      <a:pt x="569" y="113"/>
                    </a:cubicBezTo>
                    <a:cubicBezTo>
                      <a:pt x="567" y="111"/>
                      <a:pt x="567" y="111"/>
                      <a:pt x="567" y="111"/>
                    </a:cubicBezTo>
                    <a:cubicBezTo>
                      <a:pt x="567" y="111"/>
                      <a:pt x="555" y="99"/>
                      <a:pt x="541" y="86"/>
                    </a:cubicBezTo>
                    <a:cubicBezTo>
                      <a:pt x="526" y="73"/>
                      <a:pt x="510" y="59"/>
                      <a:pt x="502" y="53"/>
                    </a:cubicBezTo>
                    <a:cubicBezTo>
                      <a:pt x="474" y="36"/>
                      <a:pt x="429" y="15"/>
                      <a:pt x="390" y="6"/>
                    </a:cubicBezTo>
                    <a:cubicBezTo>
                      <a:pt x="374" y="3"/>
                      <a:pt x="360" y="1"/>
                      <a:pt x="3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3" name="Freeform 238"/>
              <p:cNvSpPr>
                <a:spLocks noEditPoints="1"/>
              </p:cNvSpPr>
              <p:nvPr/>
            </p:nvSpPr>
            <p:spPr bwMode="auto">
              <a:xfrm>
                <a:off x="-4911722" y="4872033"/>
                <a:ext cx="915988" cy="4762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244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0"/>
                  </a:cxn>
                  <a:cxn ang="0">
                    <a:pos x="243" y="1"/>
                  </a:cxn>
                  <a:cxn ang="0">
                    <a:pos x="244" y="1"/>
                  </a:cxn>
                  <a:cxn ang="0">
                    <a:pos x="244" y="0"/>
                  </a:cxn>
                </a:cxnLst>
                <a:rect l="0" t="0" r="r" b="b"/>
                <a:pathLst>
                  <a:path w="244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244" y="0"/>
                    </a:move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0"/>
                      <a:pt x="243" y="0"/>
                      <a:pt x="243" y="0"/>
                    </a:cubicBezTo>
                    <a:cubicBezTo>
                      <a:pt x="243" y="1"/>
                      <a:pt x="243" y="1"/>
                      <a:pt x="243" y="1"/>
                    </a:cubicBezTo>
                    <a:cubicBezTo>
                      <a:pt x="244" y="1"/>
                      <a:pt x="244" y="1"/>
                      <a:pt x="244" y="1"/>
                    </a:cubicBezTo>
                    <a:cubicBezTo>
                      <a:pt x="244" y="0"/>
                      <a:pt x="244" y="0"/>
                      <a:pt x="2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4" name="Freeform 239"/>
              <p:cNvSpPr>
                <a:spLocks noEditPoints="1"/>
              </p:cNvSpPr>
              <p:nvPr/>
            </p:nvSpPr>
            <p:spPr bwMode="auto">
              <a:xfrm>
                <a:off x="-3671886" y="4872033"/>
                <a:ext cx="11715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312" y="0"/>
                  </a:cxn>
                  <a:cxn ang="0">
                    <a:pos x="311" y="0"/>
                  </a:cxn>
                  <a:cxn ang="0">
                    <a:pos x="311" y="1"/>
                  </a:cxn>
                  <a:cxn ang="0">
                    <a:pos x="312" y="1"/>
                  </a:cxn>
                  <a:cxn ang="0">
                    <a:pos x="312" y="0"/>
                  </a:cxn>
                </a:cxnLst>
                <a:rect l="0" t="0" r="r" b="b"/>
                <a:pathLst>
                  <a:path w="31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2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2" y="1"/>
                      <a:pt x="312" y="1"/>
                      <a:pt x="312" y="1"/>
                    </a:cubicBezTo>
                    <a:cubicBezTo>
                      <a:pt x="312" y="0"/>
                      <a:pt x="312" y="0"/>
                      <a:pt x="31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5" name="Freeform 240"/>
              <p:cNvSpPr>
                <a:spLocks noEditPoints="1"/>
              </p:cNvSpPr>
              <p:nvPr/>
            </p:nvSpPr>
            <p:spPr bwMode="auto">
              <a:xfrm>
                <a:off x="-2071686" y="4872033"/>
                <a:ext cx="1239838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30" y="0"/>
                  </a:cxn>
                  <a:cxn ang="0">
                    <a:pos x="329" y="0"/>
                  </a:cxn>
                  <a:cxn ang="0">
                    <a:pos x="329" y="1"/>
                  </a:cxn>
                  <a:cxn ang="0">
                    <a:pos x="330" y="1"/>
                  </a:cxn>
                  <a:cxn ang="0">
                    <a:pos x="330" y="0"/>
                  </a:cxn>
                </a:cxnLst>
                <a:rect l="0" t="0" r="r" b="b"/>
                <a:pathLst>
                  <a:path w="33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30" y="0"/>
                    </a:moveTo>
                    <a:cubicBezTo>
                      <a:pt x="329" y="0"/>
                      <a:pt x="329" y="0"/>
                      <a:pt x="329" y="0"/>
                    </a:cubicBezTo>
                    <a:cubicBezTo>
                      <a:pt x="329" y="1"/>
                      <a:pt x="329" y="1"/>
                      <a:pt x="329" y="1"/>
                    </a:cubicBezTo>
                    <a:cubicBezTo>
                      <a:pt x="330" y="1"/>
                      <a:pt x="330" y="1"/>
                      <a:pt x="330" y="1"/>
                    </a:cubicBezTo>
                    <a:cubicBezTo>
                      <a:pt x="330" y="0"/>
                      <a:pt x="330" y="0"/>
                      <a:pt x="33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6" name="Freeform 241"/>
              <p:cNvSpPr>
                <a:spLocks noEditPoints="1"/>
              </p:cNvSpPr>
              <p:nvPr/>
            </p:nvSpPr>
            <p:spPr bwMode="auto">
              <a:xfrm>
                <a:off x="-6246811" y="4872033"/>
                <a:ext cx="920750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245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4" y="0"/>
                  </a:cxn>
                  <a:cxn ang="0">
                    <a:pos x="243" y="1"/>
                  </a:cxn>
                  <a:cxn ang="0">
                    <a:pos x="245" y="1"/>
                  </a:cxn>
                  <a:cxn ang="0">
                    <a:pos x="245" y="0"/>
                  </a:cxn>
                </a:cxnLst>
                <a:rect l="0" t="0" r="r" b="b"/>
                <a:pathLst>
                  <a:path w="24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5" y="0"/>
                    </a:move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4" y="0"/>
                    </a:cubicBezTo>
                    <a:cubicBezTo>
                      <a:pt x="244" y="0"/>
                      <a:pt x="244" y="0"/>
                      <a:pt x="243" y="1"/>
                    </a:cubicBezTo>
                    <a:cubicBezTo>
                      <a:pt x="245" y="1"/>
                      <a:pt x="245" y="1"/>
                      <a:pt x="245" y="1"/>
                    </a:cubicBezTo>
                    <a:cubicBezTo>
                      <a:pt x="245" y="0"/>
                      <a:pt x="245" y="0"/>
                      <a:pt x="24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7" name="Freeform 242"/>
              <p:cNvSpPr>
                <a:spLocks/>
              </p:cNvSpPr>
              <p:nvPr/>
            </p:nvSpPr>
            <p:spPr bwMode="auto">
              <a:xfrm>
                <a:off x="-5021261" y="4541833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8" name="Freeform 243"/>
              <p:cNvSpPr>
                <a:spLocks noEditPoints="1"/>
              </p:cNvSpPr>
              <p:nvPr/>
            </p:nvSpPr>
            <p:spPr bwMode="auto">
              <a:xfrm>
                <a:off x="-3781423" y="4541833"/>
                <a:ext cx="14096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75" y="0"/>
                  </a:cxn>
                  <a:cxn ang="0">
                    <a:pos x="375" y="0"/>
                  </a:cxn>
                  <a:cxn ang="0">
                    <a:pos x="374" y="1"/>
                  </a:cxn>
                  <a:cxn ang="0">
                    <a:pos x="374" y="1"/>
                  </a:cxn>
                  <a:cxn ang="0">
                    <a:pos x="375" y="1"/>
                  </a:cxn>
                  <a:cxn ang="0">
                    <a:pos x="375" y="0"/>
                  </a:cxn>
                </a:cxnLst>
                <a:rect l="0" t="0" r="r" b="b"/>
                <a:pathLst>
                  <a:path w="375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75" y="0"/>
                    </a:moveTo>
                    <a:cubicBezTo>
                      <a:pt x="375" y="0"/>
                      <a:pt x="375" y="0"/>
                      <a:pt x="375" y="0"/>
                    </a:cubicBezTo>
                    <a:cubicBezTo>
                      <a:pt x="375" y="0"/>
                      <a:pt x="375" y="0"/>
                      <a:pt x="374" y="1"/>
                    </a:cubicBezTo>
                    <a:cubicBezTo>
                      <a:pt x="374" y="1"/>
                      <a:pt x="374" y="1"/>
                      <a:pt x="374" y="1"/>
                    </a:cubicBezTo>
                    <a:cubicBezTo>
                      <a:pt x="375" y="1"/>
                      <a:pt x="375" y="1"/>
                      <a:pt x="375" y="1"/>
                    </a:cubicBezTo>
                    <a:cubicBezTo>
                      <a:pt x="375" y="0"/>
                      <a:pt x="375" y="0"/>
                      <a:pt x="375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79" name="Freeform 244"/>
              <p:cNvSpPr>
                <a:spLocks/>
              </p:cNvSpPr>
              <p:nvPr/>
            </p:nvSpPr>
            <p:spPr bwMode="auto">
              <a:xfrm>
                <a:off x="-2176461" y="4541833"/>
                <a:ext cx="158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</a:cxnLst>
                <a:rect l="0" t="0" r="r" b="b"/>
                <a:pathLst>
                  <a:path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0" name="Freeform 245"/>
              <p:cNvSpPr>
                <a:spLocks/>
              </p:cNvSpPr>
              <p:nvPr/>
            </p:nvSpPr>
            <p:spPr bwMode="auto">
              <a:xfrm>
                <a:off x="-6310310" y="4541833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1" name="Freeform 246"/>
              <p:cNvSpPr>
                <a:spLocks noEditPoints="1"/>
              </p:cNvSpPr>
              <p:nvPr/>
            </p:nvSpPr>
            <p:spPr bwMode="auto">
              <a:xfrm>
                <a:off x="-4062411" y="3529009"/>
                <a:ext cx="313372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34" y="0"/>
                  </a:cxn>
                  <a:cxn ang="0">
                    <a:pos x="832" y="0"/>
                  </a:cxn>
                  <a:cxn ang="0">
                    <a:pos x="833" y="1"/>
                  </a:cxn>
                  <a:cxn ang="0">
                    <a:pos x="834" y="1"/>
                  </a:cxn>
                  <a:cxn ang="0">
                    <a:pos x="834" y="0"/>
                  </a:cxn>
                </a:cxnLst>
                <a:rect l="0" t="0" r="r" b="b"/>
                <a:pathLst>
                  <a:path w="834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34" y="0"/>
                    </a:moveTo>
                    <a:cubicBezTo>
                      <a:pt x="832" y="0"/>
                      <a:pt x="832" y="0"/>
                      <a:pt x="832" y="0"/>
                    </a:cubicBezTo>
                    <a:cubicBezTo>
                      <a:pt x="833" y="0"/>
                      <a:pt x="833" y="0"/>
                      <a:pt x="833" y="1"/>
                    </a:cubicBezTo>
                    <a:cubicBezTo>
                      <a:pt x="834" y="1"/>
                      <a:pt x="834" y="1"/>
                      <a:pt x="834" y="1"/>
                    </a:cubicBezTo>
                    <a:cubicBezTo>
                      <a:pt x="834" y="0"/>
                      <a:pt x="834" y="0"/>
                      <a:pt x="83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2" name="Freeform 247"/>
              <p:cNvSpPr>
                <a:spLocks noEditPoints="1"/>
              </p:cNvSpPr>
              <p:nvPr/>
            </p:nvSpPr>
            <p:spPr bwMode="auto">
              <a:xfrm>
                <a:off x="-6246811" y="3529009"/>
                <a:ext cx="2044699" cy="4762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2" y="0"/>
                  </a:cxn>
                  <a:cxn ang="0">
                    <a:pos x="544" y="0"/>
                  </a:cxn>
                  <a:cxn ang="0">
                    <a:pos x="543" y="0"/>
                  </a:cxn>
                  <a:cxn ang="0">
                    <a:pos x="543" y="1"/>
                  </a:cxn>
                  <a:cxn ang="0">
                    <a:pos x="544" y="1"/>
                  </a:cxn>
                  <a:cxn ang="0">
                    <a:pos x="544" y="0"/>
                  </a:cxn>
                </a:cxnLst>
                <a:rect l="0" t="0" r="r" b="b"/>
                <a:pathLst>
                  <a:path w="544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2" y="0"/>
                      <a:pt x="2" y="0"/>
                    </a:cubicBezTo>
                    <a:moveTo>
                      <a:pt x="544" y="0"/>
                    </a:moveTo>
                    <a:cubicBezTo>
                      <a:pt x="543" y="0"/>
                      <a:pt x="543" y="0"/>
                      <a:pt x="543" y="0"/>
                    </a:cubicBezTo>
                    <a:cubicBezTo>
                      <a:pt x="543" y="0"/>
                      <a:pt x="543" y="0"/>
                      <a:pt x="543" y="1"/>
                    </a:cubicBezTo>
                    <a:cubicBezTo>
                      <a:pt x="544" y="1"/>
                      <a:pt x="544" y="1"/>
                      <a:pt x="544" y="1"/>
                    </a:cubicBezTo>
                    <a:cubicBezTo>
                      <a:pt x="544" y="0"/>
                      <a:pt x="544" y="0"/>
                      <a:pt x="544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3" name="Freeform 248"/>
              <p:cNvSpPr>
                <a:spLocks/>
              </p:cNvSpPr>
              <p:nvPr/>
            </p:nvSpPr>
            <p:spPr bwMode="auto">
              <a:xfrm>
                <a:off x="-3690937" y="2784472"/>
                <a:ext cx="7937" cy="3175"/>
              </a:xfrm>
              <a:custGeom>
                <a:avLst/>
                <a:gdLst/>
                <a:ahLst/>
                <a:cxnLst>
                  <a:cxn ang="0">
                    <a:pos x="5" y="0"/>
                  </a:cxn>
                  <a:cxn ang="0">
                    <a:pos x="0" y="0"/>
                  </a:cxn>
                  <a:cxn ang="0">
                    <a:pos x="0" y="2"/>
                  </a:cxn>
                  <a:cxn ang="0">
                    <a:pos x="2" y="2"/>
                  </a:cxn>
                  <a:cxn ang="0">
                    <a:pos x="5" y="0"/>
                  </a:cxn>
                  <a:cxn ang="0">
                    <a:pos x="5" y="0"/>
                  </a:cxn>
                </a:cxnLst>
                <a:rect l="0" t="0" r="r" b="b"/>
                <a:pathLst>
                  <a:path w="5" h="2">
                    <a:moveTo>
                      <a:pt x="5" y="0"/>
                    </a:moveTo>
                    <a:lnTo>
                      <a:pt x="0" y="0"/>
                    </a:lnTo>
                    <a:lnTo>
                      <a:pt x="0" y="2"/>
                    </a:lnTo>
                    <a:lnTo>
                      <a:pt x="2" y="2"/>
                    </a:lnTo>
                    <a:lnTo>
                      <a:pt x="5" y="0"/>
                    </a:lnTo>
                    <a:lnTo>
                      <a:pt x="5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4" name="Freeform 249"/>
              <p:cNvSpPr>
                <a:spLocks noEditPoints="1"/>
              </p:cNvSpPr>
              <p:nvPr/>
            </p:nvSpPr>
            <p:spPr bwMode="auto">
              <a:xfrm>
                <a:off x="-5837235" y="2784472"/>
                <a:ext cx="13160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49" y="0"/>
                  </a:cxn>
                  <a:cxn ang="0">
                    <a:pos x="348" y="0"/>
                  </a:cxn>
                  <a:cxn ang="0">
                    <a:pos x="349" y="1"/>
                  </a:cxn>
                  <a:cxn ang="0">
                    <a:pos x="350" y="1"/>
                  </a:cxn>
                  <a:cxn ang="0">
                    <a:pos x="350" y="1"/>
                  </a:cxn>
                  <a:cxn ang="0">
                    <a:pos x="349" y="1"/>
                  </a:cxn>
                  <a:cxn ang="0">
                    <a:pos x="349" y="0"/>
                  </a:cxn>
                </a:cxnLst>
                <a:rect l="0" t="0" r="r" b="b"/>
                <a:pathLst>
                  <a:path w="35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49" y="0"/>
                    </a:moveTo>
                    <a:cubicBezTo>
                      <a:pt x="348" y="0"/>
                      <a:pt x="348" y="0"/>
                      <a:pt x="348" y="0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50" y="1"/>
                      <a:pt x="350" y="1"/>
                      <a:pt x="350" y="1"/>
                    </a:cubicBezTo>
                    <a:cubicBezTo>
                      <a:pt x="349" y="1"/>
                      <a:pt x="349" y="1"/>
                      <a:pt x="349" y="1"/>
                    </a:cubicBezTo>
                    <a:cubicBezTo>
                      <a:pt x="349" y="0"/>
                      <a:pt x="349" y="0"/>
                      <a:pt x="34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5" name="Freeform 250"/>
              <p:cNvSpPr>
                <a:spLocks/>
              </p:cNvSpPr>
              <p:nvPr/>
            </p:nvSpPr>
            <p:spPr bwMode="auto">
              <a:xfrm>
                <a:off x="-3671886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6" name="Freeform 251"/>
              <p:cNvSpPr>
                <a:spLocks/>
              </p:cNvSpPr>
              <p:nvPr/>
            </p:nvSpPr>
            <p:spPr bwMode="auto">
              <a:xfrm>
                <a:off x="-1308099" y="3146422"/>
                <a:ext cx="6350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7" name="Freeform 252"/>
              <p:cNvSpPr>
                <a:spLocks/>
              </p:cNvSpPr>
              <p:nvPr/>
            </p:nvSpPr>
            <p:spPr bwMode="auto">
              <a:xfrm>
                <a:off x="-5738810" y="2668584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8" name="Freeform 253"/>
              <p:cNvSpPr>
                <a:spLocks noEditPoints="1"/>
              </p:cNvSpPr>
              <p:nvPr/>
            </p:nvSpPr>
            <p:spPr bwMode="auto">
              <a:xfrm>
                <a:off x="-5035547" y="4459284"/>
                <a:ext cx="11636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0" y="0"/>
                  </a:cxn>
                  <a:cxn ang="0">
                    <a:pos x="309" y="0"/>
                  </a:cxn>
                  <a:cxn ang="0">
                    <a:pos x="309" y="1"/>
                  </a:cxn>
                  <a:cxn ang="0">
                    <a:pos x="310" y="1"/>
                  </a:cxn>
                  <a:cxn ang="0">
                    <a:pos x="310" y="0"/>
                  </a:cxn>
                </a:cxnLst>
                <a:rect l="0" t="0" r="r" b="b"/>
                <a:pathLst>
                  <a:path w="310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0" y="0"/>
                    </a:moveTo>
                    <a:cubicBezTo>
                      <a:pt x="309" y="0"/>
                      <a:pt x="309" y="0"/>
                      <a:pt x="309" y="0"/>
                    </a:cubicBezTo>
                    <a:cubicBezTo>
                      <a:pt x="309" y="1"/>
                      <a:pt x="309" y="1"/>
                      <a:pt x="309" y="1"/>
                    </a:cubicBezTo>
                    <a:cubicBezTo>
                      <a:pt x="310" y="1"/>
                      <a:pt x="310" y="1"/>
                      <a:pt x="310" y="1"/>
                    </a:cubicBezTo>
                    <a:cubicBezTo>
                      <a:pt x="310" y="0"/>
                      <a:pt x="310" y="0"/>
                      <a:pt x="31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89" name="Freeform 254"/>
              <p:cNvSpPr>
                <a:spLocks noEditPoints="1"/>
              </p:cNvSpPr>
              <p:nvPr/>
            </p:nvSpPr>
            <p:spPr bwMode="auto">
              <a:xfrm>
                <a:off x="-3795710" y="4459284"/>
                <a:ext cx="1449387" cy="3175"/>
              </a:xfrm>
              <a:custGeom>
                <a:avLst/>
                <a:gdLst/>
                <a:ahLst/>
                <a:cxnLst>
                  <a:cxn ang="0">
                    <a:pos x="386" y="0"/>
                  </a:cxn>
                  <a:cxn ang="0">
                    <a:pos x="385" y="1"/>
                  </a:cxn>
                  <a:cxn ang="0">
                    <a:pos x="386" y="1"/>
                  </a:cxn>
                  <a:cxn ang="0">
                    <a:pos x="386" y="0"/>
                  </a:cxn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386" h="1">
                    <a:moveTo>
                      <a:pt x="386" y="0"/>
                    </a:moveTo>
                    <a:cubicBezTo>
                      <a:pt x="385" y="1"/>
                      <a:pt x="385" y="1"/>
                      <a:pt x="385" y="1"/>
                    </a:cubicBezTo>
                    <a:cubicBezTo>
                      <a:pt x="386" y="1"/>
                      <a:pt x="386" y="1"/>
                      <a:pt x="386" y="1"/>
                    </a:cubicBezTo>
                    <a:cubicBezTo>
                      <a:pt x="386" y="0"/>
                      <a:pt x="386" y="0"/>
                      <a:pt x="386" y="0"/>
                    </a:cubicBezTo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0" name="Freeform 255"/>
              <p:cNvSpPr>
                <a:spLocks noEditPoints="1"/>
              </p:cNvSpPr>
              <p:nvPr/>
            </p:nvSpPr>
            <p:spPr bwMode="auto">
              <a:xfrm>
                <a:off x="-2198687" y="4459284"/>
                <a:ext cx="1435100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82" y="0"/>
                  </a:cxn>
                  <a:cxn ang="0">
                    <a:pos x="381" y="0"/>
                  </a:cxn>
                  <a:cxn ang="0">
                    <a:pos x="381" y="1"/>
                  </a:cxn>
                  <a:cxn ang="0">
                    <a:pos x="382" y="1"/>
                  </a:cxn>
                  <a:cxn ang="0">
                    <a:pos x="382" y="0"/>
                  </a:cxn>
                </a:cxnLst>
                <a:rect l="0" t="0" r="r" b="b"/>
                <a:pathLst>
                  <a:path w="38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82" y="0"/>
                    </a:moveTo>
                    <a:cubicBezTo>
                      <a:pt x="381" y="0"/>
                      <a:pt x="381" y="0"/>
                      <a:pt x="381" y="0"/>
                    </a:cubicBezTo>
                    <a:cubicBezTo>
                      <a:pt x="381" y="1"/>
                      <a:pt x="381" y="1"/>
                      <a:pt x="381" y="1"/>
                    </a:cubicBezTo>
                    <a:cubicBezTo>
                      <a:pt x="382" y="1"/>
                      <a:pt x="382" y="1"/>
                      <a:pt x="382" y="1"/>
                    </a:cubicBezTo>
                    <a:cubicBezTo>
                      <a:pt x="382" y="0"/>
                      <a:pt x="382" y="0"/>
                      <a:pt x="38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1" name="Freeform 256"/>
              <p:cNvSpPr>
                <a:spLocks noEditPoints="1"/>
              </p:cNvSpPr>
              <p:nvPr/>
            </p:nvSpPr>
            <p:spPr bwMode="auto">
              <a:xfrm>
                <a:off x="-6316660" y="4459284"/>
                <a:ext cx="1168399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311" y="0"/>
                  </a:cxn>
                  <a:cxn ang="0">
                    <a:pos x="311" y="0"/>
                  </a:cxn>
                  <a:cxn ang="0">
                    <a:pos x="310" y="1"/>
                  </a:cxn>
                  <a:cxn ang="0">
                    <a:pos x="311" y="1"/>
                  </a:cxn>
                  <a:cxn ang="0">
                    <a:pos x="311" y="0"/>
                  </a:cxn>
                </a:cxnLst>
                <a:rect l="0" t="0" r="r" b="b"/>
                <a:pathLst>
                  <a:path w="31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311" y="0"/>
                    </a:moveTo>
                    <a:cubicBezTo>
                      <a:pt x="311" y="0"/>
                      <a:pt x="311" y="0"/>
                      <a:pt x="311" y="0"/>
                    </a:cubicBezTo>
                    <a:cubicBezTo>
                      <a:pt x="311" y="0"/>
                      <a:pt x="311" y="1"/>
                      <a:pt x="310" y="1"/>
                    </a:cubicBezTo>
                    <a:cubicBezTo>
                      <a:pt x="311" y="1"/>
                      <a:pt x="311" y="1"/>
                      <a:pt x="311" y="1"/>
                    </a:cubicBezTo>
                    <a:cubicBezTo>
                      <a:pt x="311" y="0"/>
                      <a:pt x="311" y="0"/>
                      <a:pt x="3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2" name="Freeform 257"/>
              <p:cNvSpPr>
                <a:spLocks noEditPoints="1"/>
              </p:cNvSpPr>
              <p:nvPr/>
            </p:nvSpPr>
            <p:spPr bwMode="auto">
              <a:xfrm>
                <a:off x="-6211885" y="5200645"/>
                <a:ext cx="74771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0" y="1"/>
                  </a:cxn>
                  <a:cxn ang="0">
                    <a:pos x="0" y="0"/>
                  </a:cxn>
                  <a:cxn ang="0">
                    <a:pos x="199" y="0"/>
                  </a:cxn>
                  <a:cxn ang="0">
                    <a:pos x="198" y="0"/>
                  </a:cxn>
                  <a:cxn ang="0">
                    <a:pos x="198" y="1"/>
                  </a:cxn>
                  <a:cxn ang="0">
                    <a:pos x="199" y="1"/>
                  </a:cxn>
                  <a:cxn ang="0">
                    <a:pos x="199" y="0"/>
                  </a:cxn>
                </a:cxnLst>
                <a:rect l="0" t="0" r="r" b="b"/>
                <a:pathLst>
                  <a:path w="199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0" y="0"/>
                      <a:pt x="0" y="0"/>
                      <a:pt x="0" y="0"/>
                    </a:cubicBezTo>
                    <a:moveTo>
                      <a:pt x="199" y="0"/>
                    </a:moveTo>
                    <a:cubicBezTo>
                      <a:pt x="198" y="0"/>
                      <a:pt x="198" y="0"/>
                      <a:pt x="198" y="0"/>
                    </a:cubicBezTo>
                    <a:cubicBezTo>
                      <a:pt x="198" y="1"/>
                      <a:pt x="198" y="1"/>
                      <a:pt x="198" y="1"/>
                    </a:cubicBezTo>
                    <a:cubicBezTo>
                      <a:pt x="199" y="1"/>
                      <a:pt x="199" y="1"/>
                      <a:pt x="199" y="1"/>
                    </a:cubicBezTo>
                    <a:cubicBezTo>
                      <a:pt x="199" y="0"/>
                      <a:pt x="199" y="0"/>
                      <a:pt x="199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3" name="Freeform 258"/>
              <p:cNvSpPr>
                <a:spLocks noEditPoints="1"/>
              </p:cNvSpPr>
              <p:nvPr/>
            </p:nvSpPr>
            <p:spPr bwMode="auto">
              <a:xfrm>
                <a:off x="-4837110" y="5200645"/>
                <a:ext cx="7397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97" y="0"/>
                  </a:cxn>
                  <a:cxn ang="0">
                    <a:pos x="196" y="0"/>
                  </a:cxn>
                  <a:cxn ang="0">
                    <a:pos x="196" y="1"/>
                  </a:cxn>
                  <a:cxn ang="0">
                    <a:pos x="197" y="1"/>
                  </a:cxn>
                  <a:cxn ang="0">
                    <a:pos x="197" y="0"/>
                  </a:cxn>
                </a:cxnLst>
                <a:rect l="0" t="0" r="r" b="b"/>
                <a:pathLst>
                  <a:path w="19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97" y="0"/>
                    </a:moveTo>
                    <a:cubicBezTo>
                      <a:pt x="196" y="0"/>
                      <a:pt x="196" y="0"/>
                      <a:pt x="196" y="0"/>
                    </a:cubicBezTo>
                    <a:cubicBezTo>
                      <a:pt x="196" y="1"/>
                      <a:pt x="196" y="1"/>
                      <a:pt x="196" y="1"/>
                    </a:cubicBezTo>
                    <a:cubicBezTo>
                      <a:pt x="197" y="1"/>
                      <a:pt x="197" y="1"/>
                      <a:pt x="197" y="1"/>
                    </a:cubicBezTo>
                    <a:cubicBezTo>
                      <a:pt x="197" y="0"/>
                      <a:pt x="197" y="0"/>
                      <a:pt x="19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4" name="Freeform 259"/>
              <p:cNvSpPr>
                <a:spLocks noEditPoints="1"/>
              </p:cNvSpPr>
              <p:nvPr/>
            </p:nvSpPr>
            <p:spPr bwMode="auto">
              <a:xfrm>
                <a:off x="-3594098" y="5200645"/>
                <a:ext cx="92868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47" y="0"/>
                  </a:cxn>
                  <a:cxn ang="0">
                    <a:pos x="246" y="0"/>
                  </a:cxn>
                  <a:cxn ang="0">
                    <a:pos x="246" y="1"/>
                  </a:cxn>
                  <a:cxn ang="0">
                    <a:pos x="247" y="1"/>
                  </a:cxn>
                  <a:cxn ang="0">
                    <a:pos x="247" y="0"/>
                  </a:cxn>
                </a:cxnLst>
                <a:rect l="0" t="0" r="r" b="b"/>
                <a:pathLst>
                  <a:path w="2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247" y="0"/>
                    </a:moveTo>
                    <a:cubicBezTo>
                      <a:pt x="246" y="0"/>
                      <a:pt x="246" y="0"/>
                      <a:pt x="246" y="0"/>
                    </a:cubicBezTo>
                    <a:cubicBezTo>
                      <a:pt x="246" y="1"/>
                      <a:pt x="246" y="1"/>
                      <a:pt x="246" y="1"/>
                    </a:cubicBezTo>
                    <a:cubicBezTo>
                      <a:pt x="247" y="1"/>
                      <a:pt x="247" y="1"/>
                      <a:pt x="247" y="1"/>
                    </a:cubicBezTo>
                    <a:cubicBezTo>
                      <a:pt x="247" y="0"/>
                      <a:pt x="247" y="0"/>
                      <a:pt x="2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5" name="Freeform 260"/>
              <p:cNvSpPr>
                <a:spLocks noEditPoints="1"/>
              </p:cNvSpPr>
              <p:nvPr/>
            </p:nvSpPr>
            <p:spPr bwMode="auto">
              <a:xfrm>
                <a:off x="-1879599" y="5200645"/>
                <a:ext cx="968374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  <a:cxn ang="0">
                    <a:pos x="258" y="0"/>
                  </a:cxn>
                  <a:cxn ang="0">
                    <a:pos x="258" y="0"/>
                  </a:cxn>
                  <a:cxn ang="0">
                    <a:pos x="257" y="1"/>
                  </a:cxn>
                  <a:cxn ang="0">
                    <a:pos x="258" y="1"/>
                  </a:cxn>
                  <a:cxn ang="0">
                    <a:pos x="258" y="0"/>
                  </a:cxn>
                </a:cxnLst>
                <a:rect l="0" t="0" r="r" b="b"/>
                <a:pathLst>
                  <a:path w="25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1"/>
                      <a:pt x="2" y="0"/>
                      <a:pt x="1" y="0"/>
                    </a:cubicBezTo>
                    <a:moveTo>
                      <a:pt x="258" y="0"/>
                    </a:moveTo>
                    <a:cubicBezTo>
                      <a:pt x="258" y="0"/>
                      <a:pt x="258" y="0"/>
                      <a:pt x="258" y="0"/>
                    </a:cubicBezTo>
                    <a:cubicBezTo>
                      <a:pt x="257" y="1"/>
                      <a:pt x="257" y="1"/>
                      <a:pt x="257" y="1"/>
                    </a:cubicBezTo>
                    <a:cubicBezTo>
                      <a:pt x="258" y="1"/>
                      <a:pt x="258" y="1"/>
                      <a:pt x="258" y="1"/>
                    </a:cubicBezTo>
                    <a:cubicBezTo>
                      <a:pt x="258" y="0"/>
                      <a:pt x="258" y="0"/>
                      <a:pt x="25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6" name="Freeform 261"/>
              <p:cNvSpPr>
                <a:spLocks noEditPoints="1"/>
              </p:cNvSpPr>
              <p:nvPr/>
            </p:nvSpPr>
            <p:spPr bwMode="auto">
              <a:xfrm>
                <a:off x="-6175372" y="5319708"/>
                <a:ext cx="631824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  <a:cxn ang="0">
                    <a:pos x="168" y="0"/>
                  </a:cxn>
                </a:cxnLst>
                <a:rect l="0" t="0" r="r" b="b"/>
                <a:pathLst>
                  <a:path w="168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68" y="0"/>
                    </a:move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  <a:cubicBezTo>
                      <a:pt x="168" y="0"/>
                      <a:pt x="168" y="0"/>
                      <a:pt x="16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7" name="Freeform 262"/>
              <p:cNvSpPr>
                <a:spLocks noEditPoints="1"/>
              </p:cNvSpPr>
              <p:nvPr/>
            </p:nvSpPr>
            <p:spPr bwMode="auto">
              <a:xfrm>
                <a:off x="-4779960" y="5324470"/>
                <a:ext cx="6270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167" y="0"/>
                  </a:cxn>
                  <a:cxn ang="0">
                    <a:pos x="167" y="0"/>
                  </a:cxn>
                  <a:cxn ang="0">
                    <a:pos x="166" y="1"/>
                  </a:cxn>
                  <a:cxn ang="0">
                    <a:pos x="167" y="1"/>
                  </a:cxn>
                  <a:cxn ang="0">
                    <a:pos x="167" y="0"/>
                  </a:cxn>
                </a:cxnLst>
                <a:rect l="0" t="0" r="r" b="b"/>
                <a:pathLst>
                  <a:path w="167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167" y="0"/>
                    </a:moveTo>
                    <a:cubicBezTo>
                      <a:pt x="167" y="0"/>
                      <a:pt x="167" y="0"/>
                      <a:pt x="167" y="0"/>
                    </a:cubicBezTo>
                    <a:cubicBezTo>
                      <a:pt x="166" y="1"/>
                      <a:pt x="166" y="1"/>
                      <a:pt x="166" y="1"/>
                    </a:cubicBezTo>
                    <a:cubicBezTo>
                      <a:pt x="167" y="1"/>
                      <a:pt x="167" y="1"/>
                      <a:pt x="167" y="1"/>
                    </a:cubicBezTo>
                    <a:cubicBezTo>
                      <a:pt x="167" y="0"/>
                      <a:pt x="167" y="0"/>
                      <a:pt x="16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8" name="Freeform 263"/>
              <p:cNvSpPr>
                <a:spLocks noEditPoints="1"/>
              </p:cNvSpPr>
              <p:nvPr/>
            </p:nvSpPr>
            <p:spPr bwMode="auto">
              <a:xfrm>
                <a:off x="-3536948" y="5324470"/>
                <a:ext cx="792163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0" y="0"/>
                  </a:cxn>
                  <a:cxn ang="0">
                    <a:pos x="211" y="0"/>
                  </a:cxn>
                  <a:cxn ang="0">
                    <a:pos x="210" y="0"/>
                  </a:cxn>
                  <a:cxn ang="0">
                    <a:pos x="210" y="1"/>
                  </a:cxn>
                  <a:cxn ang="0">
                    <a:pos x="211" y="1"/>
                  </a:cxn>
                  <a:cxn ang="0">
                    <a:pos x="211" y="0"/>
                  </a:cxn>
                </a:cxnLst>
                <a:rect l="0" t="0" r="r" b="b"/>
                <a:pathLst>
                  <a:path w="211" h="1">
                    <a:moveTo>
                      <a:pt x="0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0" y="0"/>
                    </a:cubicBezTo>
                    <a:moveTo>
                      <a:pt x="211" y="0"/>
                    </a:moveTo>
                    <a:cubicBezTo>
                      <a:pt x="210" y="0"/>
                      <a:pt x="210" y="0"/>
                      <a:pt x="210" y="0"/>
                    </a:cubicBezTo>
                    <a:cubicBezTo>
                      <a:pt x="210" y="1"/>
                      <a:pt x="210" y="1"/>
                      <a:pt x="210" y="1"/>
                    </a:cubicBezTo>
                    <a:cubicBezTo>
                      <a:pt x="211" y="1"/>
                      <a:pt x="211" y="1"/>
                      <a:pt x="211" y="1"/>
                    </a:cubicBezTo>
                    <a:cubicBezTo>
                      <a:pt x="211" y="0"/>
                      <a:pt x="211" y="0"/>
                      <a:pt x="21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99" name="Freeform 264"/>
              <p:cNvSpPr>
                <a:spLocks/>
              </p:cNvSpPr>
              <p:nvPr/>
            </p:nvSpPr>
            <p:spPr bwMode="auto">
              <a:xfrm>
                <a:off x="-1766887" y="5324470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1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0" name="Freeform 265"/>
              <p:cNvSpPr>
                <a:spLocks noEditPoints="1"/>
              </p:cNvSpPr>
              <p:nvPr/>
            </p:nvSpPr>
            <p:spPr bwMode="auto">
              <a:xfrm>
                <a:off x="-6343647" y="3965572"/>
                <a:ext cx="5591173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488" y="0"/>
                  </a:cxn>
                  <a:cxn ang="0">
                    <a:pos x="1487" y="0"/>
                  </a:cxn>
                  <a:cxn ang="0">
                    <a:pos x="1487" y="1"/>
                  </a:cxn>
                  <a:cxn ang="0">
                    <a:pos x="1488" y="1"/>
                  </a:cxn>
                  <a:cxn ang="0">
                    <a:pos x="1488" y="0"/>
                  </a:cxn>
                </a:cxnLst>
                <a:rect l="0" t="0" r="r" b="b"/>
                <a:pathLst>
                  <a:path w="1488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1488" y="0"/>
                    </a:moveTo>
                    <a:cubicBezTo>
                      <a:pt x="1487" y="0"/>
                      <a:pt x="1487" y="0"/>
                      <a:pt x="1487" y="0"/>
                    </a:cubicBezTo>
                    <a:cubicBezTo>
                      <a:pt x="1487" y="1"/>
                      <a:pt x="1487" y="1"/>
                      <a:pt x="1487" y="1"/>
                    </a:cubicBezTo>
                    <a:cubicBezTo>
                      <a:pt x="1488" y="1"/>
                      <a:pt x="1488" y="1"/>
                      <a:pt x="1488" y="1"/>
                    </a:cubicBezTo>
                    <a:cubicBezTo>
                      <a:pt x="1488" y="0"/>
                      <a:pt x="1488" y="0"/>
                      <a:pt x="1488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1" name="Freeform 266"/>
              <p:cNvSpPr>
                <a:spLocks noEditPoints="1"/>
              </p:cNvSpPr>
              <p:nvPr/>
            </p:nvSpPr>
            <p:spPr bwMode="auto">
              <a:xfrm>
                <a:off x="-6264273" y="3581397"/>
                <a:ext cx="2073274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552" y="0"/>
                  </a:cxn>
                  <a:cxn ang="0">
                    <a:pos x="551" y="0"/>
                  </a:cxn>
                  <a:cxn ang="0">
                    <a:pos x="551" y="1"/>
                  </a:cxn>
                  <a:cxn ang="0">
                    <a:pos x="552" y="1"/>
                  </a:cxn>
                  <a:cxn ang="0">
                    <a:pos x="552" y="0"/>
                  </a:cxn>
                </a:cxnLst>
                <a:rect l="0" t="0" r="r" b="b"/>
                <a:pathLst>
                  <a:path w="55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552" y="0"/>
                    </a:moveTo>
                    <a:cubicBezTo>
                      <a:pt x="551" y="0"/>
                      <a:pt x="551" y="0"/>
                      <a:pt x="551" y="0"/>
                    </a:cubicBezTo>
                    <a:cubicBezTo>
                      <a:pt x="551" y="0"/>
                      <a:pt x="551" y="0"/>
                      <a:pt x="551" y="1"/>
                    </a:cubicBezTo>
                    <a:cubicBezTo>
                      <a:pt x="552" y="1"/>
                      <a:pt x="552" y="1"/>
                      <a:pt x="552" y="1"/>
                    </a:cubicBezTo>
                    <a:cubicBezTo>
                      <a:pt x="552" y="0"/>
                      <a:pt x="552" y="0"/>
                      <a:pt x="55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2" name="Freeform 267"/>
              <p:cNvSpPr>
                <a:spLocks noEditPoints="1"/>
              </p:cNvSpPr>
              <p:nvPr/>
            </p:nvSpPr>
            <p:spPr bwMode="auto">
              <a:xfrm>
                <a:off x="-4078287" y="3581397"/>
                <a:ext cx="3182937" cy="4762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847" y="0"/>
                  </a:cxn>
                  <a:cxn ang="0">
                    <a:pos x="846" y="0"/>
                  </a:cxn>
                  <a:cxn ang="0">
                    <a:pos x="846" y="1"/>
                  </a:cxn>
                  <a:cxn ang="0">
                    <a:pos x="847" y="1"/>
                  </a:cxn>
                  <a:cxn ang="0">
                    <a:pos x="847" y="0"/>
                  </a:cxn>
                </a:cxnLst>
                <a:rect l="0" t="0" r="r" b="b"/>
                <a:pathLst>
                  <a:path w="847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moveTo>
                      <a:pt x="847" y="0"/>
                    </a:moveTo>
                    <a:cubicBezTo>
                      <a:pt x="846" y="0"/>
                      <a:pt x="846" y="0"/>
                      <a:pt x="846" y="0"/>
                    </a:cubicBezTo>
                    <a:cubicBezTo>
                      <a:pt x="846" y="0"/>
                      <a:pt x="846" y="0"/>
                      <a:pt x="846" y="1"/>
                    </a:cubicBezTo>
                    <a:cubicBezTo>
                      <a:pt x="847" y="1"/>
                      <a:pt x="847" y="1"/>
                      <a:pt x="847" y="1"/>
                    </a:cubicBezTo>
                    <a:cubicBezTo>
                      <a:pt x="847" y="0"/>
                      <a:pt x="847" y="0"/>
                      <a:pt x="847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3" name="Freeform 268"/>
              <p:cNvSpPr>
                <a:spLocks/>
              </p:cNvSpPr>
              <p:nvPr/>
            </p:nvSpPr>
            <p:spPr bwMode="auto">
              <a:xfrm>
                <a:off x="-3833811" y="4089396"/>
                <a:ext cx="3175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4" name="Freeform 269"/>
              <p:cNvSpPr>
                <a:spLocks/>
              </p:cNvSpPr>
              <p:nvPr/>
            </p:nvSpPr>
            <p:spPr bwMode="auto">
              <a:xfrm>
                <a:off x="-2270125" y="4044946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5" name="Freeform 270"/>
              <p:cNvSpPr>
                <a:spLocks/>
              </p:cNvSpPr>
              <p:nvPr/>
            </p:nvSpPr>
            <p:spPr bwMode="auto">
              <a:xfrm>
                <a:off x="-1301749" y="3146422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1" y="1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6" name="Freeform 271"/>
              <p:cNvSpPr>
                <a:spLocks/>
              </p:cNvSpPr>
              <p:nvPr/>
            </p:nvSpPr>
            <p:spPr bwMode="auto">
              <a:xfrm>
                <a:off x="-4138612" y="3890960"/>
                <a:ext cx="7937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 h="1">
                    <a:moveTo>
                      <a:pt x="2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7" name="Freeform 272"/>
              <p:cNvSpPr>
                <a:spLocks/>
              </p:cNvSpPr>
              <p:nvPr/>
            </p:nvSpPr>
            <p:spPr bwMode="auto">
              <a:xfrm>
                <a:off x="-5076823" y="4003671"/>
                <a:ext cx="3175" cy="1587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2" y="0"/>
                  </a:cxn>
                </a:cxnLst>
                <a:rect l="0" t="0" r="r" b="b"/>
                <a:pathLst>
                  <a:path w="2">
                    <a:moveTo>
                      <a:pt x="2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8" name="Freeform 273"/>
              <p:cNvSpPr>
                <a:spLocks/>
              </p:cNvSpPr>
              <p:nvPr/>
            </p:nvSpPr>
            <p:spPr bwMode="auto">
              <a:xfrm>
                <a:off x="-4529137" y="2784471"/>
                <a:ext cx="7937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0" y="0"/>
                  </a:cxn>
                </a:cxnLst>
                <a:rect l="0" t="0" r="r" b="b"/>
                <a:pathLst>
                  <a:path w="2" h="1">
                    <a:moveTo>
                      <a:pt x="0" y="0"/>
                    </a:move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09" name="Freeform 274"/>
              <p:cNvSpPr>
                <a:spLocks/>
              </p:cNvSpPr>
              <p:nvPr/>
            </p:nvSpPr>
            <p:spPr bwMode="auto">
              <a:xfrm>
                <a:off x="-4524373" y="2784471"/>
                <a:ext cx="3175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0" name="Freeform 275"/>
              <p:cNvSpPr>
                <a:spLocks/>
              </p:cNvSpPr>
              <p:nvPr/>
            </p:nvSpPr>
            <p:spPr bwMode="auto">
              <a:xfrm>
                <a:off x="-4341811" y="2784471"/>
                <a:ext cx="4762" cy="31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1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0" y="0"/>
                  </a:cxn>
                </a:cxnLst>
                <a:rect l="0" t="0" r="r" b="b"/>
                <a:pathLst>
                  <a:path w="1" h="1">
                    <a:moveTo>
                      <a:pt x="0" y="0"/>
                    </a:moveTo>
                    <a:cubicBezTo>
                      <a:pt x="0" y="1"/>
                      <a:pt x="0" y="1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0" y="0"/>
                      <a:pt x="0" y="0"/>
                      <a:pt x="0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1" name="Freeform 276"/>
              <p:cNvSpPr>
                <a:spLocks noEditPoints="1"/>
              </p:cNvSpPr>
              <p:nvPr/>
            </p:nvSpPr>
            <p:spPr bwMode="auto">
              <a:xfrm>
                <a:off x="-6035672" y="3149597"/>
                <a:ext cx="1660524" cy="3175"/>
              </a:xfrm>
              <a:custGeom>
                <a:avLst/>
                <a:gdLst/>
                <a:ahLst/>
                <a:cxnLst>
                  <a:cxn ang="0">
                    <a:pos x="2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2" y="0"/>
                  </a:cxn>
                  <a:cxn ang="0">
                    <a:pos x="442" y="0"/>
                  </a:cxn>
                  <a:cxn ang="0">
                    <a:pos x="442" y="0"/>
                  </a:cxn>
                  <a:cxn ang="0">
                    <a:pos x="442" y="1"/>
                  </a:cxn>
                  <a:cxn ang="0">
                    <a:pos x="442" y="1"/>
                  </a:cxn>
                  <a:cxn ang="0">
                    <a:pos x="442" y="0"/>
                  </a:cxn>
                </a:cxnLst>
                <a:rect l="0" t="0" r="r" b="b"/>
                <a:pathLst>
                  <a:path w="442" h="1">
                    <a:moveTo>
                      <a:pt x="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2" y="0"/>
                      <a:pt x="2" y="0"/>
                      <a:pt x="2" y="0"/>
                    </a:cubicBezTo>
                    <a:moveTo>
                      <a:pt x="442" y="0"/>
                    </a:moveTo>
                    <a:cubicBezTo>
                      <a:pt x="442" y="0"/>
                      <a:pt x="442" y="0"/>
                      <a:pt x="442" y="0"/>
                    </a:cubicBezTo>
                    <a:cubicBezTo>
                      <a:pt x="442" y="0"/>
                      <a:pt x="442" y="0"/>
                      <a:pt x="442" y="1"/>
                    </a:cubicBezTo>
                    <a:cubicBezTo>
                      <a:pt x="442" y="1"/>
                      <a:pt x="442" y="1"/>
                      <a:pt x="442" y="1"/>
                    </a:cubicBezTo>
                    <a:cubicBezTo>
                      <a:pt x="442" y="0"/>
                      <a:pt x="442" y="0"/>
                      <a:pt x="442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2" name="Freeform 277"/>
              <p:cNvSpPr>
                <a:spLocks/>
              </p:cNvSpPr>
              <p:nvPr/>
            </p:nvSpPr>
            <p:spPr bwMode="auto">
              <a:xfrm>
                <a:off x="-1304924" y="3149597"/>
                <a:ext cx="7937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1"/>
                  </a:cxn>
                  <a:cxn ang="0">
                    <a:pos x="2" y="1"/>
                  </a:cxn>
                  <a:cxn ang="0">
                    <a:pos x="2" y="0"/>
                  </a:cxn>
                  <a:cxn ang="0">
                    <a:pos x="2" y="0"/>
                  </a:cxn>
                  <a:cxn ang="0">
                    <a:pos x="1" y="0"/>
                  </a:cxn>
                </a:cxnLst>
                <a:rect l="0" t="0" r="r" b="b"/>
                <a:pathLst>
                  <a:path w="2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2" y="1"/>
                      <a:pt x="2" y="1"/>
                      <a:pt x="2" y="1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2" y="0"/>
                      <a:pt x="2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3" name="Freeform 278"/>
              <p:cNvSpPr>
                <a:spLocks/>
              </p:cNvSpPr>
              <p:nvPr/>
            </p:nvSpPr>
            <p:spPr bwMode="auto">
              <a:xfrm>
                <a:off x="-1301749" y="3149597"/>
                <a:ext cx="4762" cy="1587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1" y="0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4" name="Freeform 279"/>
              <p:cNvSpPr>
                <a:spLocks/>
              </p:cNvSpPr>
              <p:nvPr/>
            </p:nvSpPr>
            <p:spPr bwMode="auto">
              <a:xfrm>
                <a:off x="-3871911" y="3149597"/>
                <a:ext cx="4762" cy="3175"/>
              </a:xfrm>
              <a:custGeom>
                <a:avLst/>
                <a:gdLst/>
                <a:ahLst/>
                <a:cxnLst>
                  <a:cxn ang="0">
                    <a:pos x="1" y="0"/>
                  </a:cxn>
                  <a:cxn ang="0">
                    <a:pos x="0" y="0"/>
                  </a:cxn>
                  <a:cxn ang="0">
                    <a:pos x="0" y="1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1" y="0"/>
                  </a:cxn>
                </a:cxnLst>
                <a:rect l="0" t="0" r="r" b="b"/>
                <a:pathLst>
                  <a:path w="1" h="1">
                    <a:moveTo>
                      <a:pt x="1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0" y="1"/>
                      <a:pt x="0" y="1"/>
                      <a:pt x="0" y="1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" y="0"/>
                      <a:pt x="1" y="0"/>
                      <a:pt x="1" y="0"/>
                    </a:cubicBezTo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5" name="Freeform 280"/>
              <p:cNvSpPr>
                <a:spLocks/>
              </p:cNvSpPr>
              <p:nvPr/>
            </p:nvSpPr>
            <p:spPr bwMode="auto">
              <a:xfrm>
                <a:off x="-5675310" y="2592385"/>
                <a:ext cx="1612899" cy="2509835"/>
              </a:xfrm>
              <a:custGeom>
                <a:avLst/>
                <a:gdLst/>
                <a:ahLst/>
                <a:cxnLst>
                  <a:cxn ang="0">
                    <a:pos x="104" y="6"/>
                  </a:cxn>
                  <a:cxn ang="0">
                    <a:pos x="177" y="34"/>
                  </a:cxn>
                  <a:cxn ang="0">
                    <a:pos x="216" y="87"/>
                  </a:cxn>
                  <a:cxn ang="0">
                    <a:pos x="211" y="41"/>
                  </a:cxn>
                  <a:cxn ang="0">
                    <a:pos x="238" y="57"/>
                  </a:cxn>
                  <a:cxn ang="0">
                    <a:pos x="242" y="47"/>
                  </a:cxn>
                  <a:cxn ang="0">
                    <a:pos x="276" y="86"/>
                  </a:cxn>
                  <a:cxn ang="0">
                    <a:pos x="257" y="108"/>
                  </a:cxn>
                  <a:cxn ang="0">
                    <a:pos x="269" y="119"/>
                  </a:cxn>
                  <a:cxn ang="0">
                    <a:pos x="236" y="155"/>
                  </a:cxn>
                  <a:cxn ang="0">
                    <a:pos x="229" y="230"/>
                  </a:cxn>
                  <a:cxn ang="0">
                    <a:pos x="230" y="230"/>
                  </a:cxn>
                  <a:cxn ang="0">
                    <a:pos x="225" y="221"/>
                  </a:cxn>
                  <a:cxn ang="0">
                    <a:pos x="177" y="269"/>
                  </a:cxn>
                  <a:cxn ang="0">
                    <a:pos x="201" y="277"/>
                  </a:cxn>
                  <a:cxn ang="0">
                    <a:pos x="215" y="282"/>
                  </a:cxn>
                  <a:cxn ang="0">
                    <a:pos x="225" y="313"/>
                  </a:cxn>
                  <a:cxn ang="0">
                    <a:pos x="319" y="323"/>
                  </a:cxn>
                  <a:cxn ang="0">
                    <a:pos x="378" y="381"/>
                  </a:cxn>
                  <a:cxn ang="0">
                    <a:pos x="301" y="662"/>
                  </a:cxn>
                  <a:cxn ang="0">
                    <a:pos x="303" y="663"/>
                  </a:cxn>
                  <a:cxn ang="0">
                    <a:pos x="303" y="663"/>
                  </a:cxn>
                  <a:cxn ang="0">
                    <a:pos x="250" y="346"/>
                  </a:cxn>
                  <a:cxn ang="0">
                    <a:pos x="203" y="293"/>
                  </a:cxn>
                  <a:cxn ang="0">
                    <a:pos x="112" y="200"/>
                  </a:cxn>
                  <a:cxn ang="0">
                    <a:pos x="118" y="241"/>
                  </a:cxn>
                  <a:cxn ang="0">
                    <a:pos x="117" y="239"/>
                  </a:cxn>
                  <a:cxn ang="0">
                    <a:pos x="120" y="239"/>
                  </a:cxn>
                  <a:cxn ang="0">
                    <a:pos x="63" y="48"/>
                  </a:cxn>
                  <a:cxn ang="0">
                    <a:pos x="3" y="64"/>
                  </a:cxn>
                  <a:cxn ang="0">
                    <a:pos x="5" y="65"/>
                  </a:cxn>
                  <a:cxn ang="0">
                    <a:pos x="9" y="43"/>
                  </a:cxn>
                  <a:cxn ang="0">
                    <a:pos x="6" y="35"/>
                  </a:cxn>
                  <a:cxn ang="0">
                    <a:pos x="0" y="65"/>
                  </a:cxn>
                  <a:cxn ang="0">
                    <a:pos x="66" y="52"/>
                  </a:cxn>
                  <a:cxn ang="0">
                    <a:pos x="117" y="243"/>
                  </a:cxn>
                  <a:cxn ang="0">
                    <a:pos x="110" y="201"/>
                  </a:cxn>
                  <a:cxn ang="0">
                    <a:pos x="109" y="201"/>
                  </a:cxn>
                  <a:cxn ang="0">
                    <a:pos x="129" y="238"/>
                  </a:cxn>
                  <a:cxn ang="0">
                    <a:pos x="218" y="323"/>
                  </a:cxn>
                  <a:cxn ang="0">
                    <a:pos x="237" y="397"/>
                  </a:cxn>
                  <a:cxn ang="0">
                    <a:pos x="306" y="662"/>
                  </a:cxn>
                  <a:cxn ang="0">
                    <a:pos x="378" y="377"/>
                  </a:cxn>
                  <a:cxn ang="0">
                    <a:pos x="320" y="319"/>
                  </a:cxn>
                  <a:cxn ang="0">
                    <a:pos x="229" y="311"/>
                  </a:cxn>
                  <a:cxn ang="0">
                    <a:pos x="211" y="280"/>
                  </a:cxn>
                  <a:cxn ang="0">
                    <a:pos x="192" y="260"/>
                  </a:cxn>
                  <a:cxn ang="0">
                    <a:pos x="216" y="212"/>
                  </a:cxn>
                  <a:cxn ang="0">
                    <a:pos x="233" y="219"/>
                  </a:cxn>
                  <a:cxn ang="0">
                    <a:pos x="261" y="123"/>
                  </a:cxn>
                  <a:cxn ang="0">
                    <a:pos x="254" y="105"/>
                  </a:cxn>
                  <a:cxn ang="0">
                    <a:pos x="255" y="106"/>
                  </a:cxn>
                  <a:cxn ang="0">
                    <a:pos x="242" y="43"/>
                  </a:cxn>
                  <a:cxn ang="0">
                    <a:pos x="207" y="44"/>
                  </a:cxn>
                  <a:cxn ang="0">
                    <a:pos x="213" y="88"/>
                  </a:cxn>
                  <a:cxn ang="0">
                    <a:pos x="214" y="89"/>
                  </a:cxn>
                  <a:cxn ang="0">
                    <a:pos x="177" y="47"/>
                  </a:cxn>
                  <a:cxn ang="0">
                    <a:pos x="108" y="1"/>
                  </a:cxn>
                  <a:cxn ang="0">
                    <a:pos x="38" y="6"/>
                  </a:cxn>
                </a:cxnLst>
                <a:rect l="0" t="0" r="r" b="b"/>
                <a:pathLst>
                  <a:path w="429" h="667">
                    <a:moveTo>
                      <a:pt x="38" y="6"/>
                    </a:moveTo>
                    <a:cubicBezTo>
                      <a:pt x="40" y="7"/>
                      <a:pt x="40" y="7"/>
                      <a:pt x="40" y="7"/>
                    </a:cubicBezTo>
                    <a:cubicBezTo>
                      <a:pt x="40" y="7"/>
                      <a:pt x="42" y="6"/>
                      <a:pt x="43" y="5"/>
                    </a:cubicBezTo>
                    <a:cubicBezTo>
                      <a:pt x="45" y="4"/>
                      <a:pt x="46" y="4"/>
                      <a:pt x="47" y="4"/>
                    </a:cubicBezTo>
                    <a:cubicBezTo>
                      <a:pt x="72" y="4"/>
                      <a:pt x="72" y="4"/>
                      <a:pt x="72" y="4"/>
                    </a:cubicBezTo>
                    <a:cubicBezTo>
                      <a:pt x="73" y="4"/>
                      <a:pt x="75" y="4"/>
                      <a:pt x="76" y="5"/>
                    </a:cubicBezTo>
                    <a:cubicBezTo>
                      <a:pt x="78" y="5"/>
                      <a:pt x="79" y="6"/>
                      <a:pt x="80" y="7"/>
                    </a:cubicBezTo>
                    <a:cubicBezTo>
                      <a:pt x="86" y="10"/>
                      <a:pt x="86" y="10"/>
                      <a:pt x="86" y="10"/>
                    </a:cubicBezTo>
                    <a:cubicBezTo>
                      <a:pt x="87" y="11"/>
                      <a:pt x="89" y="12"/>
                      <a:pt x="91" y="12"/>
                    </a:cubicBezTo>
                    <a:cubicBezTo>
                      <a:pt x="93" y="12"/>
                      <a:pt x="95" y="11"/>
                      <a:pt x="97" y="10"/>
                    </a:cubicBezTo>
                    <a:cubicBezTo>
                      <a:pt x="100" y="8"/>
                      <a:pt x="100" y="8"/>
                      <a:pt x="100" y="8"/>
                    </a:cubicBezTo>
                    <a:cubicBezTo>
                      <a:pt x="101" y="7"/>
                      <a:pt x="103" y="6"/>
                      <a:pt x="104" y="6"/>
                    </a:cubicBezTo>
                    <a:cubicBezTo>
                      <a:pt x="106" y="5"/>
                      <a:pt x="107" y="5"/>
                      <a:pt x="108" y="5"/>
                    </a:cubicBezTo>
                    <a:cubicBezTo>
                      <a:pt x="116" y="5"/>
                      <a:pt x="116" y="5"/>
                      <a:pt x="116" y="5"/>
                    </a:cubicBezTo>
                    <a:cubicBezTo>
                      <a:pt x="117" y="5"/>
                      <a:pt x="119" y="5"/>
                      <a:pt x="120" y="6"/>
                    </a:cubicBezTo>
                    <a:cubicBezTo>
                      <a:pt x="122" y="7"/>
                      <a:pt x="123" y="8"/>
                      <a:pt x="124" y="8"/>
                    </a:cubicBezTo>
                    <a:cubicBezTo>
                      <a:pt x="132" y="16"/>
                      <a:pt x="132" y="16"/>
                      <a:pt x="132" y="16"/>
                    </a:cubicBezTo>
                    <a:cubicBezTo>
                      <a:pt x="133" y="17"/>
                      <a:pt x="135" y="18"/>
                      <a:pt x="137" y="18"/>
                    </a:cubicBezTo>
                    <a:cubicBezTo>
                      <a:pt x="139" y="18"/>
                      <a:pt x="141" y="17"/>
                      <a:pt x="143" y="15"/>
                    </a:cubicBezTo>
                    <a:cubicBezTo>
                      <a:pt x="144" y="14"/>
                      <a:pt x="145" y="13"/>
                      <a:pt x="147" y="13"/>
                    </a:cubicBezTo>
                    <a:cubicBezTo>
                      <a:pt x="148" y="13"/>
                      <a:pt x="148" y="13"/>
                      <a:pt x="148" y="13"/>
                    </a:cubicBezTo>
                    <a:cubicBezTo>
                      <a:pt x="175" y="28"/>
                      <a:pt x="175" y="28"/>
                      <a:pt x="175" y="28"/>
                    </a:cubicBezTo>
                    <a:cubicBezTo>
                      <a:pt x="176" y="29"/>
                      <a:pt x="177" y="30"/>
                      <a:pt x="177" y="32"/>
                    </a:cubicBezTo>
                    <a:cubicBezTo>
                      <a:pt x="177" y="33"/>
                      <a:pt x="177" y="34"/>
                      <a:pt x="177" y="34"/>
                    </a:cubicBezTo>
                    <a:cubicBezTo>
                      <a:pt x="173" y="46"/>
                      <a:pt x="173" y="46"/>
                      <a:pt x="173" y="46"/>
                    </a:cubicBezTo>
                    <a:cubicBezTo>
                      <a:pt x="172" y="47"/>
                      <a:pt x="172" y="48"/>
                      <a:pt x="172" y="49"/>
                    </a:cubicBezTo>
                    <a:cubicBezTo>
                      <a:pt x="172" y="53"/>
                      <a:pt x="173" y="56"/>
                      <a:pt x="176" y="57"/>
                    </a:cubicBezTo>
                    <a:cubicBezTo>
                      <a:pt x="198" y="72"/>
                      <a:pt x="198" y="72"/>
                      <a:pt x="198" y="72"/>
                    </a:cubicBezTo>
                    <a:cubicBezTo>
                      <a:pt x="200" y="73"/>
                      <a:pt x="203" y="77"/>
                      <a:pt x="204" y="79"/>
                    </a:cubicBezTo>
                    <a:cubicBezTo>
                      <a:pt x="210" y="90"/>
                      <a:pt x="210" y="90"/>
                      <a:pt x="210" y="90"/>
                    </a:cubicBezTo>
                    <a:cubicBezTo>
                      <a:pt x="210" y="90"/>
                      <a:pt x="210" y="91"/>
                      <a:pt x="211" y="91"/>
                    </a:cubicBezTo>
                    <a:cubicBezTo>
                      <a:pt x="211" y="92"/>
                      <a:pt x="211" y="92"/>
                      <a:pt x="212" y="92"/>
                    </a:cubicBezTo>
                    <a:cubicBezTo>
                      <a:pt x="213" y="93"/>
                      <a:pt x="213" y="93"/>
                      <a:pt x="213" y="93"/>
                    </a:cubicBezTo>
                    <a:cubicBezTo>
                      <a:pt x="214" y="93"/>
                      <a:pt x="215" y="92"/>
                      <a:pt x="215" y="92"/>
                    </a:cubicBezTo>
                    <a:cubicBezTo>
                      <a:pt x="216" y="91"/>
                      <a:pt x="216" y="90"/>
                      <a:pt x="216" y="90"/>
                    </a:cubicBezTo>
                    <a:cubicBezTo>
                      <a:pt x="216" y="89"/>
                      <a:pt x="216" y="88"/>
                      <a:pt x="216" y="87"/>
                    </a:cubicBezTo>
                    <a:cubicBezTo>
                      <a:pt x="216" y="70"/>
                      <a:pt x="216" y="70"/>
                      <a:pt x="216" y="70"/>
                    </a:cubicBezTo>
                    <a:cubicBezTo>
                      <a:pt x="216" y="66"/>
                      <a:pt x="216" y="60"/>
                      <a:pt x="215" y="56"/>
                    </a:cubicBezTo>
                    <a:cubicBezTo>
                      <a:pt x="212" y="43"/>
                      <a:pt x="212" y="43"/>
                      <a:pt x="212" y="43"/>
                    </a:cubicBezTo>
                    <a:cubicBezTo>
                      <a:pt x="211" y="43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1"/>
                      <a:pt x="211" y="41"/>
                      <a:pt x="211" y="41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11" y="42"/>
                      <a:pt x="211" y="42"/>
                      <a:pt x="211" y="42"/>
                    </a:cubicBezTo>
                    <a:cubicBezTo>
                      <a:pt x="235" y="56"/>
                      <a:pt x="235" y="56"/>
                      <a:pt x="235" y="56"/>
                    </a:cubicBezTo>
                    <a:cubicBezTo>
                      <a:pt x="236" y="57"/>
                      <a:pt x="237" y="57"/>
                      <a:pt x="238" y="57"/>
                    </a:cubicBezTo>
                    <a:cubicBezTo>
                      <a:pt x="239" y="57"/>
                      <a:pt x="241" y="56"/>
                      <a:pt x="241" y="55"/>
                    </a:cubicBezTo>
                    <a:cubicBezTo>
                      <a:pt x="242" y="54"/>
                      <a:pt x="243" y="52"/>
                      <a:pt x="243" y="51"/>
                    </a:cubicBezTo>
                    <a:cubicBezTo>
                      <a:pt x="243" y="49"/>
                      <a:pt x="243" y="49"/>
                      <a:pt x="243" y="49"/>
                    </a:cubicBezTo>
                    <a:cubicBezTo>
                      <a:pt x="243" y="48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7"/>
                      <a:pt x="243" y="47"/>
                      <a:pt x="243" y="47"/>
                    </a:cubicBezTo>
                    <a:cubicBezTo>
                      <a:pt x="242" y="46"/>
                      <a:pt x="242" y="46"/>
                      <a:pt x="242" y="46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2" y="47"/>
                      <a:pt x="242" y="47"/>
                      <a:pt x="242" y="47"/>
                    </a:cubicBezTo>
                    <a:cubicBezTo>
                      <a:pt x="243" y="48"/>
                      <a:pt x="243" y="48"/>
                      <a:pt x="243" y="48"/>
                    </a:cubicBezTo>
                    <a:cubicBezTo>
                      <a:pt x="275" y="83"/>
                      <a:pt x="275" y="83"/>
                      <a:pt x="275" y="83"/>
                    </a:cubicBezTo>
                    <a:cubicBezTo>
                      <a:pt x="275" y="84"/>
                      <a:pt x="276" y="85"/>
                      <a:pt x="276" y="86"/>
                    </a:cubicBezTo>
                    <a:cubicBezTo>
                      <a:pt x="276" y="87"/>
                      <a:pt x="276" y="88"/>
                      <a:pt x="275" y="89"/>
                    </a:cubicBezTo>
                    <a:cubicBezTo>
                      <a:pt x="275" y="89"/>
                      <a:pt x="274" y="90"/>
                      <a:pt x="272" y="91"/>
                    </a:cubicBezTo>
                    <a:cubicBezTo>
                      <a:pt x="271" y="92"/>
                      <a:pt x="270" y="92"/>
                      <a:pt x="269" y="92"/>
                    </a:cubicBezTo>
                    <a:cubicBezTo>
                      <a:pt x="260" y="92"/>
                      <a:pt x="260" y="92"/>
                      <a:pt x="260" y="92"/>
                    </a:cubicBezTo>
                    <a:cubicBezTo>
                      <a:pt x="258" y="92"/>
                      <a:pt x="256" y="93"/>
                      <a:pt x="254" y="94"/>
                    </a:cubicBezTo>
                    <a:cubicBezTo>
                      <a:pt x="253" y="96"/>
                      <a:pt x="252" y="98"/>
                      <a:pt x="251" y="100"/>
                    </a:cubicBezTo>
                    <a:cubicBezTo>
                      <a:pt x="251" y="103"/>
                      <a:pt x="251" y="103"/>
                      <a:pt x="251" y="103"/>
                    </a:cubicBezTo>
                    <a:cubicBezTo>
                      <a:pt x="250" y="104"/>
                      <a:pt x="250" y="104"/>
                      <a:pt x="250" y="105"/>
                    </a:cubicBezTo>
                    <a:cubicBezTo>
                      <a:pt x="250" y="106"/>
                      <a:pt x="250" y="107"/>
                      <a:pt x="251" y="108"/>
                    </a:cubicBezTo>
                    <a:cubicBezTo>
                      <a:pt x="252" y="109"/>
                      <a:pt x="252" y="109"/>
                      <a:pt x="252" y="109"/>
                    </a:cubicBezTo>
                    <a:cubicBezTo>
                      <a:pt x="253" y="109"/>
                      <a:pt x="253" y="109"/>
                      <a:pt x="254" y="109"/>
                    </a:cubicBezTo>
                    <a:cubicBezTo>
                      <a:pt x="255" y="109"/>
                      <a:pt x="256" y="109"/>
                      <a:pt x="257" y="108"/>
                    </a:cubicBezTo>
                    <a:cubicBezTo>
                      <a:pt x="258" y="108"/>
                      <a:pt x="258" y="108"/>
                      <a:pt x="258" y="108"/>
                    </a:cubicBezTo>
                    <a:cubicBezTo>
                      <a:pt x="259" y="108"/>
                      <a:pt x="261" y="108"/>
                      <a:pt x="261" y="110"/>
                    </a:cubicBezTo>
                    <a:cubicBezTo>
                      <a:pt x="268" y="118"/>
                      <a:pt x="268" y="118"/>
                      <a:pt x="268" y="118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20"/>
                      <a:pt x="270" y="120"/>
                      <a:pt x="270" y="120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70" y="119"/>
                      <a:pt x="270" y="119"/>
                      <a:pt x="270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9" y="119"/>
                      <a:pt x="269" y="119"/>
                      <a:pt x="269" y="119"/>
                    </a:cubicBezTo>
                    <a:cubicBezTo>
                      <a:pt x="261" y="119"/>
                      <a:pt x="261" y="119"/>
                      <a:pt x="261" y="119"/>
                    </a:cubicBezTo>
                    <a:cubicBezTo>
                      <a:pt x="259" y="119"/>
                      <a:pt x="257" y="120"/>
                      <a:pt x="255" y="121"/>
                    </a:cubicBezTo>
                    <a:cubicBezTo>
                      <a:pt x="254" y="122"/>
                      <a:pt x="252" y="124"/>
                      <a:pt x="251" y="126"/>
                    </a:cubicBezTo>
                    <a:cubicBezTo>
                      <a:pt x="236" y="155"/>
                      <a:pt x="236" y="155"/>
                      <a:pt x="236" y="155"/>
                    </a:cubicBezTo>
                    <a:cubicBezTo>
                      <a:pt x="234" y="159"/>
                      <a:pt x="233" y="164"/>
                      <a:pt x="233" y="168"/>
                    </a:cubicBezTo>
                    <a:cubicBezTo>
                      <a:pt x="233" y="176"/>
                      <a:pt x="233" y="176"/>
                      <a:pt x="233" y="176"/>
                    </a:cubicBezTo>
                    <a:cubicBezTo>
                      <a:pt x="233" y="179"/>
                      <a:pt x="232" y="185"/>
                      <a:pt x="230" y="187"/>
                    </a:cubicBezTo>
                    <a:cubicBezTo>
                      <a:pt x="228" y="191"/>
                      <a:pt x="228" y="191"/>
                      <a:pt x="228" y="191"/>
                    </a:cubicBezTo>
                    <a:cubicBezTo>
                      <a:pt x="226" y="194"/>
                      <a:pt x="225" y="200"/>
                      <a:pt x="225" y="204"/>
                    </a:cubicBezTo>
                    <a:cubicBezTo>
                      <a:pt x="225" y="206"/>
                      <a:pt x="225" y="206"/>
                      <a:pt x="225" y="206"/>
                    </a:cubicBezTo>
                    <a:cubicBezTo>
                      <a:pt x="225" y="208"/>
                      <a:pt x="225" y="210"/>
                      <a:pt x="225" y="212"/>
                    </a:cubicBezTo>
                    <a:cubicBezTo>
                      <a:pt x="226" y="214"/>
                      <a:pt x="226" y="215"/>
                      <a:pt x="227" y="217"/>
                    </a:cubicBezTo>
                    <a:cubicBezTo>
                      <a:pt x="228" y="217"/>
                      <a:pt x="228" y="218"/>
                      <a:pt x="229" y="220"/>
                    </a:cubicBezTo>
                    <a:cubicBezTo>
                      <a:pt x="229" y="222"/>
                      <a:pt x="229" y="224"/>
                      <a:pt x="229" y="225"/>
                    </a:cubicBezTo>
                    <a:cubicBezTo>
                      <a:pt x="229" y="228"/>
                      <a:pt x="229" y="228"/>
                      <a:pt x="229" y="228"/>
                    </a:cubicBezTo>
                    <a:cubicBezTo>
                      <a:pt x="229" y="229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29" y="230"/>
                      <a:pt x="229" y="230"/>
                      <a:pt x="229" y="230"/>
                    </a:cubicBezTo>
                    <a:cubicBezTo>
                      <a:pt x="230" y="231"/>
                      <a:pt x="230" y="231"/>
                      <a:pt x="230" y="231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30"/>
                      <a:pt x="230" y="230"/>
                      <a:pt x="230" y="230"/>
                    </a:cubicBezTo>
                    <a:cubicBezTo>
                      <a:pt x="230" y="229"/>
                      <a:pt x="230" y="229"/>
                      <a:pt x="230" y="229"/>
                    </a:cubicBezTo>
                    <a:cubicBezTo>
                      <a:pt x="227" y="225"/>
                      <a:pt x="227" y="225"/>
                      <a:pt x="227" y="225"/>
                    </a:cubicBezTo>
                    <a:cubicBezTo>
                      <a:pt x="226" y="224"/>
                      <a:pt x="225" y="223"/>
                      <a:pt x="225" y="221"/>
                    </a:cubicBezTo>
                    <a:cubicBezTo>
                      <a:pt x="224" y="219"/>
                      <a:pt x="224" y="217"/>
                      <a:pt x="224" y="216"/>
                    </a:cubicBezTo>
                    <a:cubicBezTo>
                      <a:pt x="224" y="214"/>
                      <a:pt x="223" y="212"/>
                      <a:pt x="222" y="211"/>
                    </a:cubicBezTo>
                    <a:cubicBezTo>
                      <a:pt x="220" y="209"/>
                      <a:pt x="218" y="208"/>
                      <a:pt x="216" y="208"/>
                    </a:cubicBezTo>
                    <a:cubicBezTo>
                      <a:pt x="181" y="208"/>
                      <a:pt x="181" y="208"/>
                      <a:pt x="181" y="208"/>
                    </a:cubicBezTo>
                    <a:cubicBezTo>
                      <a:pt x="179" y="208"/>
                      <a:pt x="177" y="209"/>
                      <a:pt x="176" y="210"/>
                    </a:cubicBezTo>
                    <a:cubicBezTo>
                      <a:pt x="174" y="212"/>
                      <a:pt x="173" y="213"/>
                      <a:pt x="172" y="216"/>
                    </a:cubicBezTo>
                    <a:cubicBezTo>
                      <a:pt x="166" y="234"/>
                      <a:pt x="166" y="234"/>
                      <a:pt x="166" y="234"/>
                    </a:cubicBezTo>
                    <a:cubicBezTo>
                      <a:pt x="165" y="237"/>
                      <a:pt x="164" y="240"/>
                      <a:pt x="164" y="242"/>
                    </a:cubicBezTo>
                    <a:cubicBezTo>
                      <a:pt x="164" y="244"/>
                      <a:pt x="165" y="246"/>
                      <a:pt x="165" y="248"/>
                    </a:cubicBezTo>
                    <a:cubicBezTo>
                      <a:pt x="168" y="261"/>
                      <a:pt x="168" y="261"/>
                      <a:pt x="168" y="261"/>
                    </a:cubicBezTo>
                    <a:cubicBezTo>
                      <a:pt x="169" y="263"/>
                      <a:pt x="170" y="265"/>
                      <a:pt x="171" y="267"/>
                    </a:cubicBezTo>
                    <a:cubicBezTo>
                      <a:pt x="173" y="268"/>
                      <a:pt x="175" y="269"/>
                      <a:pt x="177" y="269"/>
                    </a:cubicBezTo>
                    <a:cubicBezTo>
                      <a:pt x="187" y="269"/>
                      <a:pt x="187" y="269"/>
                      <a:pt x="187" y="269"/>
                    </a:cubicBezTo>
                    <a:cubicBezTo>
                      <a:pt x="189" y="269"/>
                      <a:pt x="191" y="268"/>
                      <a:pt x="192" y="267"/>
                    </a:cubicBezTo>
                    <a:cubicBezTo>
                      <a:pt x="194" y="265"/>
                      <a:pt x="195" y="264"/>
                      <a:pt x="196" y="262"/>
                    </a:cubicBezTo>
                    <a:cubicBezTo>
                      <a:pt x="196" y="261"/>
                      <a:pt x="196" y="261"/>
                      <a:pt x="196" y="261"/>
                    </a:cubicBezTo>
                    <a:cubicBezTo>
                      <a:pt x="197" y="260"/>
                      <a:pt x="197" y="258"/>
                      <a:pt x="198" y="257"/>
                    </a:cubicBezTo>
                    <a:cubicBezTo>
                      <a:pt x="199" y="257"/>
                      <a:pt x="201" y="256"/>
                      <a:pt x="201" y="256"/>
                    </a:cubicBezTo>
                    <a:cubicBezTo>
                      <a:pt x="203" y="256"/>
                      <a:pt x="203" y="256"/>
                      <a:pt x="203" y="256"/>
                    </a:cubicBezTo>
                    <a:cubicBezTo>
                      <a:pt x="203" y="256"/>
                      <a:pt x="204" y="256"/>
                      <a:pt x="204" y="257"/>
                    </a:cubicBezTo>
                    <a:cubicBezTo>
                      <a:pt x="204" y="257"/>
                      <a:pt x="205" y="258"/>
                      <a:pt x="205" y="259"/>
                    </a:cubicBezTo>
                    <a:cubicBezTo>
                      <a:pt x="205" y="260"/>
                      <a:pt x="205" y="260"/>
                      <a:pt x="205" y="260"/>
                    </a:cubicBezTo>
                    <a:cubicBezTo>
                      <a:pt x="202" y="275"/>
                      <a:pt x="202" y="275"/>
                      <a:pt x="202" y="275"/>
                    </a:cubicBezTo>
                    <a:cubicBezTo>
                      <a:pt x="202" y="276"/>
                      <a:pt x="201" y="277"/>
                      <a:pt x="201" y="277"/>
                    </a:cubicBezTo>
                    <a:cubicBezTo>
                      <a:pt x="201" y="279"/>
                      <a:pt x="202" y="281"/>
                      <a:pt x="203" y="282"/>
                    </a:cubicBezTo>
                    <a:cubicBezTo>
                      <a:pt x="204" y="284"/>
                      <a:pt x="206" y="285"/>
                      <a:pt x="207" y="285"/>
                    </a:cubicBezTo>
                    <a:cubicBezTo>
                      <a:pt x="209" y="285"/>
                      <a:pt x="211" y="284"/>
                      <a:pt x="212" y="284"/>
                    </a:cubicBezTo>
                    <a:cubicBezTo>
                      <a:pt x="214" y="283"/>
                      <a:pt x="215" y="283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1"/>
                      <a:pt x="216" y="281"/>
                      <a:pt x="216" y="281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5" y="281"/>
                      <a:pt x="215" y="281"/>
                      <a:pt x="215" y="281"/>
                    </a:cubicBezTo>
                    <a:cubicBezTo>
                      <a:pt x="215" y="282"/>
                      <a:pt x="215" y="282"/>
                      <a:pt x="215" y="282"/>
                    </a:cubicBezTo>
                    <a:cubicBezTo>
                      <a:pt x="216" y="282"/>
                      <a:pt x="216" y="282"/>
                      <a:pt x="216" y="282"/>
                    </a:cubicBezTo>
                    <a:cubicBezTo>
                      <a:pt x="217" y="283"/>
                      <a:pt x="217" y="283"/>
                      <a:pt x="218" y="284"/>
                    </a:cubicBezTo>
                    <a:cubicBezTo>
                      <a:pt x="222" y="290"/>
                      <a:pt x="222" y="290"/>
                      <a:pt x="222" y="290"/>
                    </a:cubicBezTo>
                    <a:cubicBezTo>
                      <a:pt x="223" y="292"/>
                      <a:pt x="223" y="293"/>
                      <a:pt x="223" y="295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3" y="296"/>
                      <a:pt x="223" y="296"/>
                      <a:pt x="223" y="296"/>
                    </a:cubicBezTo>
                    <a:cubicBezTo>
                      <a:pt x="222" y="297"/>
                      <a:pt x="222" y="299"/>
                      <a:pt x="222" y="301"/>
                    </a:cubicBezTo>
                    <a:cubicBezTo>
                      <a:pt x="222" y="303"/>
                      <a:pt x="222" y="305"/>
                      <a:pt x="223" y="307"/>
                    </a:cubicBezTo>
                    <a:cubicBezTo>
                      <a:pt x="225" y="313"/>
                      <a:pt x="225" y="313"/>
                      <a:pt x="225" y="313"/>
                    </a:cubicBezTo>
                    <a:cubicBezTo>
                      <a:pt x="225" y="315"/>
                      <a:pt x="227" y="316"/>
                      <a:pt x="228" y="318"/>
                    </a:cubicBezTo>
                    <a:cubicBezTo>
                      <a:pt x="230" y="319"/>
                      <a:pt x="232" y="320"/>
                      <a:pt x="234" y="320"/>
                    </a:cubicBezTo>
                    <a:cubicBezTo>
                      <a:pt x="240" y="320"/>
                      <a:pt x="240" y="320"/>
                      <a:pt x="240" y="320"/>
                    </a:cubicBezTo>
                    <a:cubicBezTo>
                      <a:pt x="241" y="320"/>
                      <a:pt x="242" y="320"/>
                      <a:pt x="244" y="321"/>
                    </a:cubicBezTo>
                    <a:cubicBezTo>
                      <a:pt x="245" y="322"/>
                      <a:pt x="247" y="323"/>
                      <a:pt x="248" y="323"/>
                    </a:cubicBezTo>
                    <a:cubicBezTo>
                      <a:pt x="249" y="325"/>
                      <a:pt x="249" y="325"/>
                      <a:pt x="249" y="325"/>
                    </a:cubicBezTo>
                    <a:cubicBezTo>
                      <a:pt x="251" y="326"/>
                      <a:pt x="252" y="327"/>
                      <a:pt x="254" y="327"/>
                    </a:cubicBezTo>
                    <a:cubicBezTo>
                      <a:pt x="256" y="327"/>
                      <a:pt x="259" y="326"/>
                      <a:pt x="260" y="324"/>
                    </a:cubicBezTo>
                    <a:cubicBezTo>
                      <a:pt x="273" y="307"/>
                      <a:pt x="273" y="307"/>
                      <a:pt x="273" y="307"/>
                    </a:cubicBezTo>
                    <a:cubicBezTo>
                      <a:pt x="274" y="306"/>
                      <a:pt x="276" y="305"/>
                      <a:pt x="277" y="305"/>
                    </a:cubicBezTo>
                    <a:cubicBezTo>
                      <a:pt x="278" y="305"/>
                      <a:pt x="278" y="305"/>
                      <a:pt x="279" y="305"/>
                    </a:cubicBezTo>
                    <a:cubicBezTo>
                      <a:pt x="319" y="323"/>
                      <a:pt x="319" y="323"/>
                      <a:pt x="319" y="323"/>
                    </a:cubicBezTo>
                    <a:cubicBezTo>
                      <a:pt x="321" y="324"/>
                      <a:pt x="325" y="326"/>
                      <a:pt x="327" y="328"/>
                    </a:cubicBezTo>
                    <a:cubicBezTo>
                      <a:pt x="359" y="359"/>
                      <a:pt x="359" y="359"/>
                      <a:pt x="359" y="359"/>
                    </a:cubicBezTo>
                    <a:cubicBezTo>
                      <a:pt x="359" y="360"/>
                      <a:pt x="360" y="361"/>
                      <a:pt x="360" y="362"/>
                    </a:cubicBezTo>
                    <a:cubicBezTo>
                      <a:pt x="361" y="364"/>
                      <a:pt x="361" y="365"/>
                      <a:pt x="361" y="367"/>
                    </a:cubicBezTo>
                    <a:cubicBezTo>
                      <a:pt x="361" y="368"/>
                      <a:pt x="361" y="368"/>
                      <a:pt x="361" y="368"/>
                    </a:cubicBezTo>
                    <a:cubicBezTo>
                      <a:pt x="360" y="374"/>
                      <a:pt x="360" y="374"/>
                      <a:pt x="360" y="374"/>
                    </a:cubicBezTo>
                    <a:cubicBezTo>
                      <a:pt x="360" y="374"/>
                      <a:pt x="360" y="375"/>
                      <a:pt x="360" y="376"/>
                    </a:cubicBezTo>
                    <a:cubicBezTo>
                      <a:pt x="360" y="378"/>
                      <a:pt x="360" y="379"/>
                      <a:pt x="361" y="381"/>
                    </a:cubicBezTo>
                    <a:cubicBezTo>
                      <a:pt x="362" y="383"/>
                      <a:pt x="363" y="384"/>
                      <a:pt x="364" y="385"/>
                    </a:cubicBezTo>
                    <a:cubicBezTo>
                      <a:pt x="365" y="386"/>
                      <a:pt x="367" y="386"/>
                      <a:pt x="368" y="386"/>
                    </a:cubicBezTo>
                    <a:cubicBezTo>
                      <a:pt x="370" y="386"/>
                      <a:pt x="373" y="385"/>
                      <a:pt x="375" y="383"/>
                    </a:cubicBezTo>
                    <a:cubicBezTo>
                      <a:pt x="376" y="382"/>
                      <a:pt x="377" y="381"/>
                      <a:pt x="378" y="381"/>
                    </a:cubicBezTo>
                    <a:cubicBezTo>
                      <a:pt x="379" y="381"/>
                      <a:pt x="380" y="381"/>
                      <a:pt x="380" y="382"/>
                    </a:cubicBezTo>
                    <a:cubicBezTo>
                      <a:pt x="422" y="407"/>
                      <a:pt x="422" y="407"/>
                      <a:pt x="422" y="407"/>
                    </a:cubicBezTo>
                    <a:cubicBezTo>
                      <a:pt x="423" y="407"/>
                      <a:pt x="424" y="408"/>
                      <a:pt x="424" y="409"/>
                    </a:cubicBezTo>
                    <a:cubicBezTo>
                      <a:pt x="425" y="410"/>
                      <a:pt x="425" y="412"/>
                      <a:pt x="425" y="413"/>
                    </a:cubicBezTo>
                    <a:cubicBezTo>
                      <a:pt x="425" y="414"/>
                      <a:pt x="425" y="414"/>
                      <a:pt x="425" y="414"/>
                    </a:cubicBezTo>
                    <a:cubicBezTo>
                      <a:pt x="423" y="426"/>
                      <a:pt x="423" y="426"/>
                      <a:pt x="423" y="426"/>
                    </a:cubicBezTo>
                    <a:cubicBezTo>
                      <a:pt x="423" y="429"/>
                      <a:pt x="421" y="434"/>
                      <a:pt x="419" y="436"/>
                    </a:cubicBezTo>
                    <a:cubicBezTo>
                      <a:pt x="315" y="584"/>
                      <a:pt x="315" y="584"/>
                      <a:pt x="315" y="584"/>
                    </a:cubicBezTo>
                    <a:cubicBezTo>
                      <a:pt x="313" y="587"/>
                      <a:pt x="311" y="592"/>
                      <a:pt x="310" y="596"/>
                    </a:cubicBezTo>
                    <a:cubicBezTo>
                      <a:pt x="303" y="621"/>
                      <a:pt x="303" y="621"/>
                      <a:pt x="303" y="621"/>
                    </a:cubicBezTo>
                    <a:cubicBezTo>
                      <a:pt x="302" y="625"/>
                      <a:pt x="301" y="631"/>
                      <a:pt x="301" y="635"/>
                    </a:cubicBezTo>
                    <a:cubicBezTo>
                      <a:pt x="301" y="662"/>
                      <a:pt x="301" y="662"/>
                      <a:pt x="301" y="662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1" y="663"/>
                      <a:pt x="301" y="663"/>
                      <a:pt x="301" y="663"/>
                    </a:cubicBezTo>
                    <a:cubicBezTo>
                      <a:pt x="302" y="664"/>
                      <a:pt x="302" y="664"/>
                      <a:pt x="302" y="664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2" y="663"/>
                      <a:pt x="302" y="663"/>
                      <a:pt x="302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4"/>
                      <a:pt x="303" y="664"/>
                      <a:pt x="303" y="664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3"/>
                    </a:cubicBezTo>
                    <a:cubicBezTo>
                      <a:pt x="303" y="663"/>
                      <a:pt x="303" y="663"/>
                      <a:pt x="303" y="662"/>
                    </a:cubicBezTo>
                    <a:cubicBezTo>
                      <a:pt x="286" y="629"/>
                      <a:pt x="286" y="629"/>
                      <a:pt x="286" y="629"/>
                    </a:cubicBezTo>
                    <a:cubicBezTo>
                      <a:pt x="284" y="627"/>
                      <a:pt x="283" y="621"/>
                      <a:pt x="283" y="618"/>
                    </a:cubicBezTo>
                    <a:cubicBezTo>
                      <a:pt x="283" y="479"/>
                      <a:pt x="283" y="479"/>
                      <a:pt x="283" y="479"/>
                    </a:cubicBezTo>
                    <a:cubicBezTo>
                      <a:pt x="283" y="474"/>
                      <a:pt x="282" y="469"/>
                      <a:pt x="280" y="465"/>
                    </a:cubicBezTo>
                    <a:cubicBezTo>
                      <a:pt x="244" y="405"/>
                      <a:pt x="244" y="405"/>
                      <a:pt x="244" y="405"/>
                    </a:cubicBezTo>
                    <a:cubicBezTo>
                      <a:pt x="243" y="403"/>
                      <a:pt x="242" y="400"/>
                      <a:pt x="242" y="397"/>
                    </a:cubicBezTo>
                    <a:cubicBezTo>
                      <a:pt x="242" y="396"/>
                      <a:pt x="242" y="395"/>
                      <a:pt x="242" y="395"/>
                    </a:cubicBezTo>
                    <a:cubicBezTo>
                      <a:pt x="250" y="346"/>
                      <a:pt x="250" y="346"/>
                      <a:pt x="250" y="346"/>
                    </a:cubicBezTo>
                    <a:cubicBezTo>
                      <a:pt x="251" y="345"/>
                      <a:pt x="251" y="344"/>
                      <a:pt x="251" y="343"/>
                    </a:cubicBezTo>
                    <a:cubicBezTo>
                      <a:pt x="251" y="340"/>
                      <a:pt x="250" y="336"/>
                      <a:pt x="248" y="333"/>
                    </a:cubicBezTo>
                    <a:cubicBezTo>
                      <a:pt x="248" y="333"/>
                      <a:pt x="248" y="333"/>
                      <a:pt x="248" y="333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7" y="332"/>
                      <a:pt x="247" y="332"/>
                      <a:pt x="247" y="332"/>
                    </a:cubicBezTo>
                    <a:cubicBezTo>
                      <a:pt x="246" y="330"/>
                      <a:pt x="245" y="328"/>
                      <a:pt x="243" y="327"/>
                    </a:cubicBezTo>
                    <a:cubicBezTo>
                      <a:pt x="241" y="326"/>
                      <a:pt x="239" y="325"/>
                      <a:pt x="237" y="325"/>
                    </a:cubicBezTo>
                    <a:cubicBezTo>
                      <a:pt x="228" y="325"/>
                      <a:pt x="228" y="325"/>
                      <a:pt x="228" y="325"/>
                    </a:cubicBezTo>
                    <a:cubicBezTo>
                      <a:pt x="227" y="325"/>
                      <a:pt x="225" y="325"/>
                      <a:pt x="224" y="324"/>
                    </a:cubicBezTo>
                    <a:cubicBezTo>
                      <a:pt x="223" y="323"/>
                      <a:pt x="222" y="322"/>
                      <a:pt x="221" y="321"/>
                    </a:cubicBezTo>
                    <a:cubicBezTo>
                      <a:pt x="211" y="302"/>
                      <a:pt x="211" y="302"/>
                      <a:pt x="211" y="302"/>
                    </a:cubicBezTo>
                    <a:cubicBezTo>
                      <a:pt x="209" y="299"/>
                      <a:pt x="206" y="295"/>
                      <a:pt x="203" y="293"/>
                    </a:cubicBezTo>
                    <a:cubicBezTo>
                      <a:pt x="181" y="280"/>
                      <a:pt x="181" y="280"/>
                      <a:pt x="181" y="280"/>
                    </a:cubicBezTo>
                    <a:cubicBezTo>
                      <a:pt x="178" y="278"/>
                      <a:pt x="174" y="277"/>
                      <a:pt x="170" y="277"/>
                    </a:cubicBezTo>
                    <a:cubicBezTo>
                      <a:pt x="162" y="277"/>
                      <a:pt x="162" y="277"/>
                      <a:pt x="162" y="277"/>
                    </a:cubicBezTo>
                    <a:cubicBezTo>
                      <a:pt x="161" y="277"/>
                      <a:pt x="159" y="276"/>
                      <a:pt x="157" y="276"/>
                    </a:cubicBezTo>
                    <a:cubicBezTo>
                      <a:pt x="156" y="275"/>
                      <a:pt x="154" y="274"/>
                      <a:pt x="153" y="274"/>
                    </a:cubicBezTo>
                    <a:cubicBezTo>
                      <a:pt x="140" y="263"/>
                      <a:pt x="140" y="263"/>
                      <a:pt x="140" y="263"/>
                    </a:cubicBezTo>
                    <a:cubicBezTo>
                      <a:pt x="139" y="262"/>
                      <a:pt x="138" y="261"/>
                      <a:pt x="137" y="259"/>
                    </a:cubicBezTo>
                    <a:cubicBezTo>
                      <a:pt x="136" y="258"/>
                      <a:pt x="136" y="256"/>
                      <a:pt x="136" y="254"/>
                    </a:cubicBezTo>
                    <a:cubicBezTo>
                      <a:pt x="136" y="249"/>
                      <a:pt x="136" y="249"/>
                      <a:pt x="136" y="249"/>
                    </a:cubicBezTo>
                    <a:cubicBezTo>
                      <a:pt x="136" y="245"/>
                      <a:pt x="135" y="239"/>
                      <a:pt x="133" y="236"/>
                    </a:cubicBezTo>
                    <a:cubicBezTo>
                      <a:pt x="113" y="201"/>
                      <a:pt x="113" y="201"/>
                      <a:pt x="113" y="201"/>
                    </a:cubicBezTo>
                    <a:cubicBezTo>
                      <a:pt x="112" y="201"/>
                      <a:pt x="112" y="200"/>
                      <a:pt x="112" y="200"/>
                    </a:cubicBezTo>
                    <a:cubicBezTo>
                      <a:pt x="111" y="199"/>
                      <a:pt x="111" y="199"/>
                      <a:pt x="111" y="199"/>
                    </a:cubicBezTo>
                    <a:cubicBezTo>
                      <a:pt x="110" y="199"/>
                      <a:pt x="110" y="198"/>
                      <a:pt x="109" y="198"/>
                    </a:cubicBezTo>
                    <a:cubicBezTo>
                      <a:pt x="108" y="199"/>
                      <a:pt x="108" y="199"/>
                      <a:pt x="108" y="199"/>
                    </a:cubicBezTo>
                    <a:cubicBezTo>
                      <a:pt x="107" y="199"/>
                      <a:pt x="107" y="200"/>
                      <a:pt x="107" y="200"/>
                    </a:cubicBezTo>
                    <a:cubicBezTo>
                      <a:pt x="107" y="201"/>
                      <a:pt x="107" y="201"/>
                      <a:pt x="107" y="201"/>
                    </a:cubicBezTo>
                    <a:cubicBezTo>
                      <a:pt x="107" y="202"/>
                      <a:pt x="107" y="203"/>
                      <a:pt x="107" y="204"/>
                    </a:cubicBezTo>
                    <a:cubicBezTo>
                      <a:pt x="116" y="239"/>
                      <a:pt x="116" y="239"/>
                      <a:pt x="116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6" y="241"/>
                      <a:pt x="116" y="241"/>
                      <a:pt x="116" y="241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6" y="240"/>
                      <a:pt x="116" y="240"/>
                      <a:pt x="116" y="240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7" y="239"/>
                      <a:pt x="117" y="239"/>
                      <a:pt x="117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18" y="239"/>
                      <a:pt x="118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39"/>
                      <a:pt x="119" y="239"/>
                      <a:pt x="118" y="239"/>
                    </a:cubicBezTo>
                    <a:cubicBezTo>
                      <a:pt x="118" y="241"/>
                      <a:pt x="118" y="241"/>
                      <a:pt x="118" y="241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19" y="240"/>
                      <a:pt x="119" y="240"/>
                      <a:pt x="119" y="240"/>
                    </a:cubicBezTo>
                    <a:cubicBezTo>
                      <a:pt x="120" y="239"/>
                      <a:pt x="120" y="239"/>
                      <a:pt x="120" y="239"/>
                    </a:cubicBezTo>
                    <a:cubicBezTo>
                      <a:pt x="120" y="239"/>
                      <a:pt x="119" y="239"/>
                      <a:pt x="119" y="238"/>
                    </a:cubicBezTo>
                    <a:cubicBezTo>
                      <a:pt x="84" y="155"/>
                      <a:pt x="84" y="155"/>
                      <a:pt x="84" y="155"/>
                    </a:cubicBezTo>
                    <a:cubicBezTo>
                      <a:pt x="83" y="153"/>
                      <a:pt x="83" y="150"/>
                      <a:pt x="83" y="147"/>
                    </a:cubicBezTo>
                    <a:cubicBezTo>
                      <a:pt x="83" y="146"/>
                      <a:pt x="83" y="145"/>
                      <a:pt x="83" y="144"/>
                    </a:cubicBezTo>
                    <a:cubicBezTo>
                      <a:pt x="91" y="108"/>
                      <a:pt x="91" y="108"/>
                      <a:pt x="91" y="108"/>
                    </a:cubicBezTo>
                    <a:cubicBezTo>
                      <a:pt x="92" y="107"/>
                      <a:pt x="92" y="105"/>
                      <a:pt x="92" y="104"/>
                    </a:cubicBezTo>
                    <a:cubicBezTo>
                      <a:pt x="92" y="100"/>
                      <a:pt x="91" y="97"/>
                      <a:pt x="90" y="95"/>
                    </a:cubicBezTo>
                    <a:cubicBezTo>
                      <a:pt x="72" y="53"/>
                      <a:pt x="72" y="53"/>
                      <a:pt x="72" y="53"/>
                    </a:cubicBezTo>
                    <a:cubicBezTo>
                      <a:pt x="72" y="51"/>
                      <a:pt x="71" y="50"/>
                      <a:pt x="70" y="49"/>
                    </a:cubicBezTo>
                    <a:cubicBezTo>
                      <a:pt x="69" y="48"/>
                      <a:pt x="67" y="48"/>
                      <a:pt x="66" y="48"/>
                    </a:cubicBezTo>
                    <a:cubicBezTo>
                      <a:pt x="65" y="48"/>
                      <a:pt x="64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8"/>
                      <a:pt x="63" y="48"/>
                      <a:pt x="63" y="48"/>
                    </a:cubicBezTo>
                    <a:cubicBezTo>
                      <a:pt x="63" y="49"/>
                      <a:pt x="62" y="49"/>
                      <a:pt x="61" y="49"/>
                    </a:cubicBezTo>
                    <a:cubicBezTo>
                      <a:pt x="60" y="49"/>
                      <a:pt x="58" y="48"/>
                      <a:pt x="57" y="47"/>
                    </a:cubicBezTo>
                    <a:cubicBezTo>
                      <a:pt x="50" y="42"/>
                      <a:pt x="50" y="42"/>
                      <a:pt x="50" y="42"/>
                    </a:cubicBezTo>
                    <a:cubicBezTo>
                      <a:pt x="48" y="40"/>
                      <a:pt x="46" y="39"/>
                      <a:pt x="44" y="39"/>
                    </a:cubicBezTo>
                    <a:cubicBezTo>
                      <a:pt x="42" y="39"/>
                      <a:pt x="40" y="40"/>
                      <a:pt x="39" y="41"/>
                    </a:cubicBezTo>
                    <a:cubicBezTo>
                      <a:pt x="4" y="63"/>
                      <a:pt x="4" y="63"/>
                      <a:pt x="4" y="63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4"/>
                      <a:pt x="3" y="64"/>
                      <a:pt x="3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4" y="64"/>
                      <a:pt x="4" y="64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4" y="64"/>
                    </a:cubicBezTo>
                    <a:cubicBezTo>
                      <a:pt x="3" y="65"/>
                      <a:pt x="3" y="65"/>
                      <a:pt x="3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4" y="65"/>
                      <a:pt x="4" y="65"/>
                      <a:pt x="4" y="65"/>
                    </a:cubicBezTo>
                    <a:cubicBezTo>
                      <a:pt x="5" y="65"/>
                      <a:pt x="5" y="65"/>
                      <a:pt x="5" y="65"/>
                    </a:cubicBezTo>
                    <a:cubicBezTo>
                      <a:pt x="5" y="65"/>
                      <a:pt x="5" y="65"/>
                      <a:pt x="5" y="64"/>
                    </a:cubicBezTo>
                    <a:cubicBezTo>
                      <a:pt x="11" y="54"/>
                      <a:pt x="11" y="54"/>
                      <a:pt x="11" y="54"/>
                    </a:cubicBezTo>
                    <a:cubicBezTo>
                      <a:pt x="12" y="53"/>
                      <a:pt x="12" y="51"/>
                      <a:pt x="12" y="50"/>
                    </a:cubicBezTo>
                    <a:cubicBezTo>
                      <a:pt x="12" y="47"/>
                      <a:pt x="11" y="44"/>
                      <a:pt x="9" y="43"/>
                    </a:cubicBezTo>
                    <a:cubicBezTo>
                      <a:pt x="8" y="44"/>
                      <a:pt x="8" y="44"/>
                      <a:pt x="8" y="44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9" y="43"/>
                      <a:pt x="9" y="43"/>
                      <a:pt x="9" y="43"/>
                    </a:cubicBezTo>
                    <a:cubicBezTo>
                      <a:pt x="8" y="42"/>
                      <a:pt x="8" y="41"/>
                      <a:pt x="8" y="41"/>
                    </a:cubicBezTo>
                    <a:cubicBezTo>
                      <a:pt x="8" y="40"/>
                      <a:pt x="8" y="39"/>
                      <a:pt x="9" y="39"/>
                    </a:cubicBezTo>
                    <a:cubicBezTo>
                      <a:pt x="17" y="31"/>
                      <a:pt x="17" y="31"/>
                      <a:pt x="17" y="31"/>
                    </a:cubicBezTo>
                    <a:cubicBezTo>
                      <a:pt x="20" y="29"/>
                      <a:pt x="23" y="25"/>
                      <a:pt x="26" y="23"/>
                    </a:cubicBezTo>
                    <a:cubicBezTo>
                      <a:pt x="40" y="7"/>
                      <a:pt x="40" y="7"/>
                      <a:pt x="40" y="7"/>
                    </a:cubicBezTo>
                    <a:cubicBezTo>
                      <a:pt x="38" y="6"/>
                      <a:pt x="38" y="6"/>
                      <a:pt x="38" y="6"/>
                    </a:cubicBezTo>
                    <a:cubicBezTo>
                      <a:pt x="36" y="5"/>
                      <a:pt x="36" y="5"/>
                      <a:pt x="36" y="5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0" y="22"/>
                      <a:pt x="17" y="26"/>
                      <a:pt x="15" y="28"/>
                    </a:cubicBezTo>
                    <a:cubicBezTo>
                      <a:pt x="6" y="35"/>
                      <a:pt x="6" y="35"/>
                      <a:pt x="6" y="35"/>
                    </a:cubicBezTo>
                    <a:cubicBezTo>
                      <a:pt x="4" y="37"/>
                      <a:pt x="3" y="39"/>
                      <a:pt x="3" y="41"/>
                    </a:cubicBezTo>
                    <a:cubicBezTo>
                      <a:pt x="3" y="43"/>
                      <a:pt x="4" y="45"/>
                      <a:pt x="6" y="46"/>
                    </a:cubicBezTo>
                    <a:cubicBezTo>
                      <a:pt x="7" y="44"/>
                      <a:pt x="7" y="44"/>
                      <a:pt x="7" y="44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6" y="46"/>
                      <a:pt x="6" y="46"/>
                      <a:pt x="6" y="46"/>
                    </a:cubicBezTo>
                    <a:cubicBezTo>
                      <a:pt x="7" y="47"/>
                      <a:pt x="8" y="48"/>
                      <a:pt x="8" y="50"/>
                    </a:cubicBezTo>
                    <a:cubicBezTo>
                      <a:pt x="8" y="50"/>
                      <a:pt x="8" y="51"/>
                      <a:pt x="7" y="52"/>
                    </a:cubicBezTo>
                    <a:cubicBezTo>
                      <a:pt x="2" y="62"/>
                      <a:pt x="2" y="62"/>
                      <a:pt x="2" y="62"/>
                    </a:cubicBezTo>
                    <a:cubicBezTo>
                      <a:pt x="1" y="62"/>
                      <a:pt x="1" y="63"/>
                      <a:pt x="1" y="63"/>
                    </a:cubicBezTo>
                    <a:cubicBezTo>
                      <a:pt x="1" y="64"/>
                      <a:pt x="0" y="65"/>
                      <a:pt x="0" y="65"/>
                    </a:cubicBezTo>
                    <a:cubicBezTo>
                      <a:pt x="0" y="66"/>
                      <a:pt x="0" y="66"/>
                      <a:pt x="1" y="67"/>
                    </a:cubicBezTo>
                    <a:cubicBezTo>
                      <a:pt x="2" y="68"/>
                      <a:pt x="3" y="68"/>
                      <a:pt x="3" y="68"/>
                    </a:cubicBezTo>
                    <a:cubicBezTo>
                      <a:pt x="4" y="68"/>
                      <a:pt x="5" y="68"/>
                      <a:pt x="6" y="67"/>
                    </a:cubicBezTo>
                    <a:cubicBezTo>
                      <a:pt x="41" y="44"/>
                      <a:pt x="41" y="44"/>
                      <a:pt x="41" y="44"/>
                    </a:cubicBezTo>
                    <a:cubicBezTo>
                      <a:pt x="42" y="44"/>
                      <a:pt x="43" y="44"/>
                      <a:pt x="44" y="44"/>
                    </a:cubicBezTo>
                    <a:cubicBezTo>
                      <a:pt x="45" y="44"/>
                      <a:pt x="47" y="44"/>
                      <a:pt x="47" y="45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56" y="52"/>
                      <a:pt x="59" y="53"/>
                      <a:pt x="61" y="53"/>
                    </a:cubicBezTo>
                    <a:cubicBezTo>
                      <a:pt x="62" y="53"/>
                      <a:pt x="64" y="53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5" y="52"/>
                      <a:pt x="65" y="52"/>
                      <a:pt x="65" y="52"/>
                    </a:cubicBezTo>
                    <a:cubicBezTo>
                      <a:pt x="66" y="52"/>
                      <a:pt x="66" y="52"/>
                      <a:pt x="66" y="52"/>
                    </a:cubicBezTo>
                    <a:cubicBezTo>
                      <a:pt x="66" y="52"/>
                      <a:pt x="67" y="52"/>
                      <a:pt x="67" y="53"/>
                    </a:cubicBezTo>
                    <a:cubicBezTo>
                      <a:pt x="68" y="53"/>
                      <a:pt x="68" y="54"/>
                      <a:pt x="69" y="55"/>
                    </a:cubicBezTo>
                    <a:cubicBezTo>
                      <a:pt x="86" y="96"/>
                      <a:pt x="86" y="96"/>
                      <a:pt x="86" y="96"/>
                    </a:cubicBezTo>
                    <a:cubicBezTo>
                      <a:pt x="87" y="98"/>
                      <a:pt x="87" y="101"/>
                      <a:pt x="87" y="104"/>
                    </a:cubicBezTo>
                    <a:cubicBezTo>
                      <a:pt x="87" y="105"/>
                      <a:pt x="87" y="106"/>
                      <a:pt x="87" y="107"/>
                    </a:cubicBezTo>
                    <a:cubicBezTo>
                      <a:pt x="79" y="143"/>
                      <a:pt x="79" y="143"/>
                      <a:pt x="79" y="143"/>
                    </a:cubicBezTo>
                    <a:cubicBezTo>
                      <a:pt x="79" y="144"/>
                      <a:pt x="79" y="146"/>
                      <a:pt x="79" y="147"/>
                    </a:cubicBezTo>
                    <a:cubicBezTo>
                      <a:pt x="79" y="151"/>
                      <a:pt x="79" y="154"/>
                      <a:pt x="80" y="156"/>
                    </a:cubicBezTo>
                    <a:cubicBezTo>
                      <a:pt x="115" y="239"/>
                      <a:pt x="115" y="239"/>
                      <a:pt x="115" y="239"/>
                    </a:cubicBezTo>
                    <a:cubicBezTo>
                      <a:pt x="115" y="240"/>
                      <a:pt x="116" y="241"/>
                      <a:pt x="116" y="241"/>
                    </a:cubicBezTo>
                    <a:cubicBezTo>
                      <a:pt x="116" y="242"/>
                      <a:pt x="116" y="242"/>
                      <a:pt x="116" y="242"/>
                    </a:cubicBezTo>
                    <a:cubicBezTo>
                      <a:pt x="117" y="243"/>
                      <a:pt x="117" y="243"/>
                      <a:pt x="117" y="243"/>
                    </a:cubicBezTo>
                    <a:cubicBezTo>
                      <a:pt x="117" y="243"/>
                      <a:pt x="117" y="243"/>
                      <a:pt x="118" y="243"/>
                    </a:cubicBezTo>
                    <a:cubicBezTo>
                      <a:pt x="119" y="243"/>
                      <a:pt x="119" y="243"/>
                      <a:pt x="120" y="242"/>
                    </a:cubicBezTo>
                    <a:cubicBezTo>
                      <a:pt x="120" y="241"/>
                      <a:pt x="120" y="241"/>
                      <a:pt x="120" y="241"/>
                    </a:cubicBezTo>
                    <a:cubicBezTo>
                      <a:pt x="121" y="241"/>
                      <a:pt x="121" y="241"/>
                      <a:pt x="121" y="241"/>
                    </a:cubicBezTo>
                    <a:cubicBezTo>
                      <a:pt x="120" y="240"/>
                      <a:pt x="120" y="239"/>
                      <a:pt x="120" y="238"/>
                    </a:cubicBezTo>
                    <a:cubicBezTo>
                      <a:pt x="111" y="203"/>
                      <a:pt x="111" y="203"/>
                      <a:pt x="111" y="203"/>
                    </a:cubicBezTo>
                    <a:cubicBezTo>
                      <a:pt x="111" y="202"/>
                      <a:pt x="111" y="201"/>
                      <a:pt x="111" y="201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11" y="201"/>
                      <a:pt x="111" y="201"/>
                      <a:pt x="111" y="201"/>
                    </a:cubicBezTo>
                    <a:cubicBezTo>
                      <a:pt x="110" y="201"/>
                      <a:pt x="110" y="201"/>
                      <a:pt x="110" y="201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11" y="202"/>
                      <a:pt x="111" y="202"/>
                      <a:pt x="111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10" y="202"/>
                      <a:pt x="110" y="202"/>
                      <a:pt x="110" y="202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3"/>
                      <a:pt x="109" y="203"/>
                      <a:pt x="109" y="203"/>
                    </a:cubicBezTo>
                    <a:cubicBezTo>
                      <a:pt x="109" y="201"/>
                      <a:pt x="109" y="201"/>
                      <a:pt x="109" y="201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9" y="202"/>
                      <a:pt x="109" y="202"/>
                      <a:pt x="109" y="202"/>
                    </a:cubicBezTo>
                    <a:cubicBezTo>
                      <a:pt x="108" y="202"/>
                      <a:pt x="108" y="202"/>
                      <a:pt x="108" y="202"/>
                    </a:cubicBezTo>
                    <a:cubicBezTo>
                      <a:pt x="108" y="203"/>
                      <a:pt x="108" y="203"/>
                      <a:pt x="108" y="203"/>
                    </a:cubicBezTo>
                    <a:cubicBezTo>
                      <a:pt x="109" y="203"/>
                      <a:pt x="109" y="203"/>
                      <a:pt x="109" y="204"/>
                    </a:cubicBezTo>
                    <a:cubicBezTo>
                      <a:pt x="129" y="238"/>
                      <a:pt x="129" y="238"/>
                      <a:pt x="129" y="238"/>
                    </a:cubicBezTo>
                    <a:cubicBezTo>
                      <a:pt x="130" y="240"/>
                      <a:pt x="132" y="246"/>
                      <a:pt x="132" y="249"/>
                    </a:cubicBezTo>
                    <a:cubicBezTo>
                      <a:pt x="132" y="254"/>
                      <a:pt x="132" y="254"/>
                      <a:pt x="132" y="254"/>
                    </a:cubicBezTo>
                    <a:cubicBezTo>
                      <a:pt x="132" y="257"/>
                      <a:pt x="132" y="259"/>
                      <a:pt x="133" y="261"/>
                    </a:cubicBezTo>
                    <a:cubicBezTo>
                      <a:pt x="134" y="263"/>
                      <a:pt x="135" y="265"/>
                      <a:pt x="137" y="266"/>
                    </a:cubicBezTo>
                    <a:cubicBezTo>
                      <a:pt x="151" y="277"/>
                      <a:pt x="151" y="277"/>
                      <a:pt x="151" y="277"/>
                    </a:cubicBezTo>
                    <a:cubicBezTo>
                      <a:pt x="152" y="278"/>
                      <a:pt x="154" y="279"/>
                      <a:pt x="156" y="280"/>
                    </a:cubicBezTo>
                    <a:cubicBezTo>
                      <a:pt x="158" y="281"/>
                      <a:pt x="160" y="281"/>
                      <a:pt x="162" y="281"/>
                    </a:cubicBezTo>
                    <a:cubicBezTo>
                      <a:pt x="170" y="281"/>
                      <a:pt x="170" y="281"/>
                      <a:pt x="170" y="281"/>
                    </a:cubicBezTo>
                    <a:cubicBezTo>
                      <a:pt x="173" y="281"/>
                      <a:pt x="177" y="282"/>
                      <a:pt x="179" y="284"/>
                    </a:cubicBezTo>
                    <a:cubicBezTo>
                      <a:pt x="200" y="297"/>
                      <a:pt x="200" y="297"/>
                      <a:pt x="200" y="297"/>
                    </a:cubicBezTo>
                    <a:cubicBezTo>
                      <a:pt x="202" y="298"/>
                      <a:pt x="206" y="302"/>
                      <a:pt x="207" y="304"/>
                    </a:cubicBezTo>
                    <a:cubicBezTo>
                      <a:pt x="218" y="323"/>
                      <a:pt x="218" y="323"/>
                      <a:pt x="218" y="323"/>
                    </a:cubicBezTo>
                    <a:cubicBezTo>
                      <a:pt x="219" y="325"/>
                      <a:pt x="220" y="326"/>
                      <a:pt x="222" y="328"/>
                    </a:cubicBezTo>
                    <a:cubicBezTo>
                      <a:pt x="224" y="329"/>
                      <a:pt x="225" y="330"/>
                      <a:pt x="228" y="330"/>
                    </a:cubicBezTo>
                    <a:cubicBezTo>
                      <a:pt x="237" y="330"/>
                      <a:pt x="237" y="330"/>
                      <a:pt x="237" y="330"/>
                    </a:cubicBezTo>
                    <a:cubicBezTo>
                      <a:pt x="238" y="330"/>
                      <a:pt x="239" y="330"/>
                      <a:pt x="241" y="331"/>
                    </a:cubicBezTo>
                    <a:cubicBezTo>
                      <a:pt x="242" y="332"/>
                      <a:pt x="243" y="333"/>
                      <a:pt x="244" y="334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4" y="335"/>
                      <a:pt x="244" y="335"/>
                      <a:pt x="244" y="335"/>
                    </a:cubicBezTo>
                    <a:cubicBezTo>
                      <a:pt x="246" y="337"/>
                      <a:pt x="246" y="340"/>
                      <a:pt x="246" y="343"/>
                    </a:cubicBezTo>
                    <a:cubicBezTo>
                      <a:pt x="246" y="344"/>
                      <a:pt x="246" y="345"/>
                      <a:pt x="246" y="345"/>
                    </a:cubicBezTo>
                    <a:cubicBezTo>
                      <a:pt x="238" y="394"/>
                      <a:pt x="238" y="394"/>
                      <a:pt x="238" y="394"/>
                    </a:cubicBezTo>
                    <a:cubicBezTo>
                      <a:pt x="238" y="395"/>
                      <a:pt x="237" y="396"/>
                      <a:pt x="237" y="397"/>
                    </a:cubicBezTo>
                    <a:cubicBezTo>
                      <a:pt x="237" y="400"/>
                      <a:pt x="238" y="404"/>
                      <a:pt x="240" y="407"/>
                    </a:cubicBezTo>
                    <a:cubicBezTo>
                      <a:pt x="276" y="468"/>
                      <a:pt x="276" y="468"/>
                      <a:pt x="276" y="468"/>
                    </a:cubicBezTo>
                    <a:cubicBezTo>
                      <a:pt x="278" y="470"/>
                      <a:pt x="279" y="475"/>
                      <a:pt x="279" y="479"/>
                    </a:cubicBezTo>
                    <a:cubicBezTo>
                      <a:pt x="279" y="618"/>
                      <a:pt x="279" y="618"/>
                      <a:pt x="279" y="618"/>
                    </a:cubicBezTo>
                    <a:cubicBezTo>
                      <a:pt x="279" y="622"/>
                      <a:pt x="280" y="628"/>
                      <a:pt x="282" y="631"/>
                    </a:cubicBezTo>
                    <a:cubicBezTo>
                      <a:pt x="299" y="664"/>
                      <a:pt x="299" y="664"/>
                      <a:pt x="299" y="664"/>
                    </a:cubicBezTo>
                    <a:cubicBezTo>
                      <a:pt x="299" y="665"/>
                      <a:pt x="300" y="665"/>
                      <a:pt x="300" y="666"/>
                    </a:cubicBezTo>
                    <a:cubicBezTo>
                      <a:pt x="300" y="666"/>
                      <a:pt x="301" y="666"/>
                      <a:pt x="301" y="667"/>
                    </a:cubicBezTo>
                    <a:cubicBezTo>
                      <a:pt x="301" y="667"/>
                      <a:pt x="302" y="667"/>
                      <a:pt x="303" y="667"/>
                    </a:cubicBezTo>
                    <a:cubicBezTo>
                      <a:pt x="303" y="667"/>
                      <a:pt x="304" y="667"/>
                      <a:pt x="305" y="666"/>
                    </a:cubicBezTo>
                    <a:cubicBezTo>
                      <a:pt x="305" y="665"/>
                      <a:pt x="305" y="665"/>
                      <a:pt x="306" y="664"/>
                    </a:cubicBezTo>
                    <a:cubicBezTo>
                      <a:pt x="306" y="663"/>
                      <a:pt x="306" y="663"/>
                      <a:pt x="306" y="662"/>
                    </a:cubicBezTo>
                    <a:cubicBezTo>
                      <a:pt x="306" y="635"/>
                      <a:pt x="306" y="635"/>
                      <a:pt x="306" y="635"/>
                    </a:cubicBezTo>
                    <a:cubicBezTo>
                      <a:pt x="306" y="631"/>
                      <a:pt x="307" y="626"/>
                      <a:pt x="307" y="622"/>
                    </a:cubicBezTo>
                    <a:cubicBezTo>
                      <a:pt x="314" y="597"/>
                      <a:pt x="314" y="597"/>
                      <a:pt x="314" y="597"/>
                    </a:cubicBezTo>
                    <a:cubicBezTo>
                      <a:pt x="315" y="594"/>
                      <a:pt x="317" y="589"/>
                      <a:pt x="319" y="587"/>
                    </a:cubicBezTo>
                    <a:cubicBezTo>
                      <a:pt x="423" y="439"/>
                      <a:pt x="423" y="439"/>
                      <a:pt x="423" y="439"/>
                    </a:cubicBezTo>
                    <a:cubicBezTo>
                      <a:pt x="425" y="436"/>
                      <a:pt x="427" y="431"/>
                      <a:pt x="428" y="427"/>
                    </a:cubicBezTo>
                    <a:cubicBezTo>
                      <a:pt x="429" y="415"/>
                      <a:pt x="429" y="415"/>
                      <a:pt x="429" y="415"/>
                    </a:cubicBezTo>
                    <a:cubicBezTo>
                      <a:pt x="429" y="414"/>
                      <a:pt x="429" y="414"/>
                      <a:pt x="429" y="413"/>
                    </a:cubicBezTo>
                    <a:cubicBezTo>
                      <a:pt x="429" y="411"/>
                      <a:pt x="429" y="409"/>
                      <a:pt x="428" y="408"/>
                    </a:cubicBezTo>
                    <a:cubicBezTo>
                      <a:pt x="427" y="406"/>
                      <a:pt x="426" y="404"/>
                      <a:pt x="425" y="403"/>
                    </a:cubicBezTo>
                    <a:cubicBezTo>
                      <a:pt x="383" y="378"/>
                      <a:pt x="383" y="378"/>
                      <a:pt x="383" y="378"/>
                    </a:cubicBezTo>
                    <a:cubicBezTo>
                      <a:pt x="381" y="377"/>
                      <a:pt x="380" y="377"/>
                      <a:pt x="378" y="377"/>
                    </a:cubicBezTo>
                    <a:cubicBezTo>
                      <a:pt x="376" y="377"/>
                      <a:pt x="373" y="378"/>
                      <a:pt x="372" y="380"/>
                    </a:cubicBezTo>
                    <a:cubicBezTo>
                      <a:pt x="371" y="381"/>
                      <a:pt x="369" y="382"/>
                      <a:pt x="368" y="382"/>
                    </a:cubicBezTo>
                    <a:cubicBezTo>
                      <a:pt x="367" y="382"/>
                      <a:pt x="367" y="381"/>
                      <a:pt x="367" y="381"/>
                    </a:cubicBezTo>
                    <a:cubicBezTo>
                      <a:pt x="366" y="381"/>
                      <a:pt x="366" y="380"/>
                      <a:pt x="365" y="379"/>
                    </a:cubicBezTo>
                    <a:cubicBezTo>
                      <a:pt x="365" y="378"/>
                      <a:pt x="364" y="377"/>
                      <a:pt x="364" y="376"/>
                    </a:cubicBezTo>
                    <a:cubicBezTo>
                      <a:pt x="364" y="375"/>
                      <a:pt x="364" y="375"/>
                      <a:pt x="364" y="374"/>
                    </a:cubicBezTo>
                    <a:cubicBezTo>
                      <a:pt x="365" y="369"/>
                      <a:pt x="365" y="369"/>
                      <a:pt x="365" y="369"/>
                    </a:cubicBezTo>
                    <a:cubicBezTo>
                      <a:pt x="365" y="368"/>
                      <a:pt x="365" y="367"/>
                      <a:pt x="365" y="367"/>
                    </a:cubicBezTo>
                    <a:cubicBezTo>
                      <a:pt x="365" y="365"/>
                      <a:pt x="365" y="363"/>
                      <a:pt x="364" y="361"/>
                    </a:cubicBezTo>
                    <a:cubicBezTo>
                      <a:pt x="364" y="359"/>
                      <a:pt x="363" y="357"/>
                      <a:pt x="362" y="356"/>
                    </a:cubicBezTo>
                    <a:cubicBezTo>
                      <a:pt x="330" y="325"/>
                      <a:pt x="330" y="325"/>
                      <a:pt x="330" y="325"/>
                    </a:cubicBezTo>
                    <a:cubicBezTo>
                      <a:pt x="327" y="323"/>
                      <a:pt x="323" y="320"/>
                      <a:pt x="320" y="319"/>
                    </a:cubicBezTo>
                    <a:cubicBezTo>
                      <a:pt x="280" y="301"/>
                      <a:pt x="280" y="301"/>
                      <a:pt x="280" y="301"/>
                    </a:cubicBezTo>
                    <a:cubicBezTo>
                      <a:pt x="279" y="301"/>
                      <a:pt x="278" y="301"/>
                      <a:pt x="277" y="301"/>
                    </a:cubicBezTo>
                    <a:cubicBezTo>
                      <a:pt x="274" y="301"/>
                      <a:pt x="271" y="302"/>
                      <a:pt x="269" y="305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2"/>
                      <a:pt x="255" y="323"/>
                      <a:pt x="254" y="323"/>
                    </a:cubicBezTo>
                    <a:cubicBezTo>
                      <a:pt x="254" y="323"/>
                      <a:pt x="253" y="322"/>
                      <a:pt x="252" y="322"/>
                    </a:cubicBezTo>
                    <a:cubicBezTo>
                      <a:pt x="251" y="320"/>
                      <a:pt x="251" y="320"/>
                      <a:pt x="251" y="320"/>
                    </a:cubicBezTo>
                    <a:cubicBezTo>
                      <a:pt x="249" y="319"/>
                      <a:pt x="247" y="318"/>
                      <a:pt x="246" y="317"/>
                    </a:cubicBezTo>
                    <a:cubicBezTo>
                      <a:pt x="244" y="316"/>
                      <a:pt x="242" y="316"/>
                      <a:pt x="240" y="316"/>
                    </a:cubicBezTo>
                    <a:cubicBezTo>
                      <a:pt x="234" y="316"/>
                      <a:pt x="234" y="316"/>
                      <a:pt x="234" y="316"/>
                    </a:cubicBezTo>
                    <a:cubicBezTo>
                      <a:pt x="233" y="316"/>
                      <a:pt x="232" y="315"/>
                      <a:pt x="231" y="314"/>
                    </a:cubicBezTo>
                    <a:cubicBezTo>
                      <a:pt x="230" y="314"/>
                      <a:pt x="229" y="312"/>
                      <a:pt x="229" y="311"/>
                    </a:cubicBezTo>
                    <a:cubicBezTo>
                      <a:pt x="227" y="306"/>
                      <a:pt x="227" y="306"/>
                      <a:pt x="227" y="306"/>
                    </a:cubicBezTo>
                    <a:cubicBezTo>
                      <a:pt x="226" y="304"/>
                      <a:pt x="226" y="303"/>
                      <a:pt x="226" y="301"/>
                    </a:cubicBezTo>
                    <a:cubicBezTo>
                      <a:pt x="226" y="300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6" y="299"/>
                      <a:pt x="226" y="299"/>
                      <a:pt x="226" y="299"/>
                    </a:cubicBezTo>
                    <a:cubicBezTo>
                      <a:pt x="227" y="297"/>
                      <a:pt x="227" y="296"/>
                      <a:pt x="227" y="295"/>
                    </a:cubicBezTo>
                    <a:cubicBezTo>
                      <a:pt x="227" y="292"/>
                      <a:pt x="227" y="290"/>
                      <a:pt x="225" y="288"/>
                    </a:cubicBezTo>
                    <a:cubicBezTo>
                      <a:pt x="221" y="282"/>
                      <a:pt x="221" y="282"/>
                      <a:pt x="221" y="282"/>
                    </a:cubicBezTo>
                    <a:cubicBezTo>
                      <a:pt x="220" y="280"/>
                      <a:pt x="220" y="279"/>
                      <a:pt x="219" y="279"/>
                    </a:cubicBezTo>
                    <a:cubicBezTo>
                      <a:pt x="218" y="278"/>
                      <a:pt x="217" y="277"/>
                      <a:pt x="215" y="277"/>
                    </a:cubicBezTo>
                    <a:cubicBezTo>
                      <a:pt x="214" y="277"/>
                      <a:pt x="213" y="278"/>
                      <a:pt x="213" y="279"/>
                    </a:cubicBezTo>
                    <a:cubicBezTo>
                      <a:pt x="213" y="279"/>
                      <a:pt x="212" y="279"/>
                      <a:pt x="211" y="280"/>
                    </a:cubicBezTo>
                    <a:cubicBezTo>
                      <a:pt x="210" y="280"/>
                      <a:pt x="209" y="280"/>
                      <a:pt x="207" y="280"/>
                    </a:cubicBezTo>
                    <a:cubicBezTo>
                      <a:pt x="207" y="280"/>
                      <a:pt x="207" y="280"/>
                      <a:pt x="206" y="280"/>
                    </a:cubicBezTo>
                    <a:cubicBezTo>
                      <a:pt x="206" y="279"/>
                      <a:pt x="206" y="278"/>
                      <a:pt x="206" y="277"/>
                    </a:cubicBezTo>
                    <a:cubicBezTo>
                      <a:pt x="206" y="277"/>
                      <a:pt x="206" y="277"/>
                      <a:pt x="206" y="276"/>
                    </a:cubicBezTo>
                    <a:cubicBezTo>
                      <a:pt x="209" y="261"/>
                      <a:pt x="209" y="261"/>
                      <a:pt x="209" y="261"/>
                    </a:cubicBezTo>
                    <a:cubicBezTo>
                      <a:pt x="209" y="260"/>
                      <a:pt x="209" y="260"/>
                      <a:pt x="209" y="259"/>
                    </a:cubicBezTo>
                    <a:cubicBezTo>
                      <a:pt x="209" y="257"/>
                      <a:pt x="208" y="255"/>
                      <a:pt x="207" y="254"/>
                    </a:cubicBezTo>
                    <a:cubicBezTo>
                      <a:pt x="206" y="253"/>
                      <a:pt x="205" y="252"/>
                      <a:pt x="203" y="252"/>
                    </a:cubicBezTo>
                    <a:cubicBezTo>
                      <a:pt x="201" y="252"/>
                      <a:pt x="201" y="252"/>
                      <a:pt x="201" y="252"/>
                    </a:cubicBezTo>
                    <a:cubicBezTo>
                      <a:pt x="199" y="252"/>
                      <a:pt x="197" y="253"/>
                      <a:pt x="196" y="254"/>
                    </a:cubicBezTo>
                    <a:cubicBezTo>
                      <a:pt x="194" y="255"/>
                      <a:pt x="193" y="257"/>
                      <a:pt x="192" y="259"/>
                    </a:cubicBezTo>
                    <a:cubicBezTo>
                      <a:pt x="192" y="260"/>
                      <a:pt x="192" y="260"/>
                      <a:pt x="192" y="260"/>
                    </a:cubicBezTo>
                    <a:cubicBezTo>
                      <a:pt x="191" y="261"/>
                      <a:pt x="190" y="263"/>
                      <a:pt x="189" y="264"/>
                    </a:cubicBezTo>
                    <a:cubicBezTo>
                      <a:pt x="188" y="264"/>
                      <a:pt x="187" y="265"/>
                      <a:pt x="187" y="265"/>
                    </a:cubicBezTo>
                    <a:cubicBezTo>
                      <a:pt x="177" y="265"/>
                      <a:pt x="177" y="265"/>
                      <a:pt x="177" y="265"/>
                    </a:cubicBezTo>
                    <a:cubicBezTo>
                      <a:pt x="176" y="265"/>
                      <a:pt x="175" y="264"/>
                      <a:pt x="174" y="264"/>
                    </a:cubicBezTo>
                    <a:cubicBezTo>
                      <a:pt x="173" y="263"/>
                      <a:pt x="173" y="261"/>
                      <a:pt x="172" y="260"/>
                    </a:cubicBezTo>
                    <a:cubicBezTo>
                      <a:pt x="169" y="247"/>
                      <a:pt x="169" y="247"/>
                      <a:pt x="169" y="247"/>
                    </a:cubicBezTo>
                    <a:cubicBezTo>
                      <a:pt x="169" y="246"/>
                      <a:pt x="169" y="244"/>
                      <a:pt x="169" y="242"/>
                    </a:cubicBezTo>
                    <a:cubicBezTo>
                      <a:pt x="169" y="240"/>
                      <a:pt x="169" y="237"/>
                      <a:pt x="170" y="236"/>
                    </a:cubicBezTo>
                    <a:cubicBezTo>
                      <a:pt x="176" y="217"/>
                      <a:pt x="176" y="217"/>
                      <a:pt x="176" y="217"/>
                    </a:cubicBezTo>
                    <a:cubicBezTo>
                      <a:pt x="177" y="216"/>
                      <a:pt x="178" y="214"/>
                      <a:pt x="179" y="214"/>
                    </a:cubicBezTo>
                    <a:cubicBezTo>
                      <a:pt x="180" y="213"/>
                      <a:pt x="181" y="212"/>
                      <a:pt x="181" y="212"/>
                    </a:cubicBezTo>
                    <a:cubicBezTo>
                      <a:pt x="216" y="212"/>
                      <a:pt x="216" y="212"/>
                      <a:pt x="216" y="212"/>
                    </a:cubicBezTo>
                    <a:cubicBezTo>
                      <a:pt x="217" y="212"/>
                      <a:pt x="218" y="213"/>
                      <a:pt x="218" y="213"/>
                    </a:cubicBezTo>
                    <a:cubicBezTo>
                      <a:pt x="219" y="214"/>
                      <a:pt x="219" y="215"/>
                      <a:pt x="219" y="216"/>
                    </a:cubicBezTo>
                    <a:cubicBezTo>
                      <a:pt x="219" y="218"/>
                      <a:pt x="220" y="220"/>
                      <a:pt x="221" y="222"/>
                    </a:cubicBezTo>
                    <a:cubicBezTo>
                      <a:pt x="221" y="224"/>
                      <a:pt x="222" y="226"/>
                      <a:pt x="223" y="228"/>
                    </a:cubicBezTo>
                    <a:cubicBezTo>
                      <a:pt x="226" y="232"/>
                      <a:pt x="226" y="232"/>
                      <a:pt x="226" y="232"/>
                    </a:cubicBezTo>
                    <a:cubicBezTo>
                      <a:pt x="227" y="232"/>
                      <a:pt x="227" y="233"/>
                      <a:pt x="228" y="233"/>
                    </a:cubicBezTo>
                    <a:cubicBezTo>
                      <a:pt x="228" y="234"/>
                      <a:pt x="229" y="234"/>
                      <a:pt x="230" y="234"/>
                    </a:cubicBezTo>
                    <a:cubicBezTo>
                      <a:pt x="231" y="234"/>
                      <a:pt x="231" y="234"/>
                      <a:pt x="232" y="233"/>
                    </a:cubicBezTo>
                    <a:cubicBezTo>
                      <a:pt x="233" y="233"/>
                      <a:pt x="233" y="232"/>
                      <a:pt x="233" y="231"/>
                    </a:cubicBezTo>
                    <a:cubicBezTo>
                      <a:pt x="233" y="230"/>
                      <a:pt x="234" y="229"/>
                      <a:pt x="234" y="228"/>
                    </a:cubicBezTo>
                    <a:cubicBezTo>
                      <a:pt x="234" y="225"/>
                      <a:pt x="234" y="225"/>
                      <a:pt x="234" y="225"/>
                    </a:cubicBezTo>
                    <a:cubicBezTo>
                      <a:pt x="234" y="223"/>
                      <a:pt x="233" y="221"/>
                      <a:pt x="233" y="219"/>
                    </a:cubicBezTo>
                    <a:cubicBezTo>
                      <a:pt x="232" y="217"/>
                      <a:pt x="232" y="216"/>
                      <a:pt x="231" y="214"/>
                    </a:cubicBezTo>
                    <a:cubicBezTo>
                      <a:pt x="231" y="214"/>
                      <a:pt x="230" y="213"/>
                      <a:pt x="230" y="211"/>
                    </a:cubicBezTo>
                    <a:cubicBezTo>
                      <a:pt x="229" y="209"/>
                      <a:pt x="229" y="207"/>
                      <a:pt x="229" y="206"/>
                    </a:cubicBezTo>
                    <a:cubicBezTo>
                      <a:pt x="229" y="204"/>
                      <a:pt x="229" y="204"/>
                      <a:pt x="229" y="204"/>
                    </a:cubicBezTo>
                    <a:cubicBezTo>
                      <a:pt x="229" y="201"/>
                      <a:pt x="230" y="195"/>
                      <a:pt x="232" y="193"/>
                    </a:cubicBezTo>
                    <a:cubicBezTo>
                      <a:pt x="234" y="189"/>
                      <a:pt x="234" y="189"/>
                      <a:pt x="234" y="189"/>
                    </a:cubicBezTo>
                    <a:cubicBezTo>
                      <a:pt x="236" y="186"/>
                      <a:pt x="237" y="180"/>
                      <a:pt x="237" y="176"/>
                    </a:cubicBezTo>
                    <a:cubicBezTo>
                      <a:pt x="237" y="168"/>
                      <a:pt x="237" y="168"/>
                      <a:pt x="237" y="168"/>
                    </a:cubicBezTo>
                    <a:cubicBezTo>
                      <a:pt x="237" y="165"/>
                      <a:pt x="238" y="160"/>
                      <a:pt x="240" y="157"/>
                    </a:cubicBezTo>
                    <a:cubicBezTo>
                      <a:pt x="255" y="128"/>
                      <a:pt x="255" y="128"/>
                      <a:pt x="255" y="128"/>
                    </a:cubicBezTo>
                    <a:cubicBezTo>
                      <a:pt x="255" y="127"/>
                      <a:pt x="256" y="126"/>
                      <a:pt x="258" y="125"/>
                    </a:cubicBezTo>
                    <a:cubicBezTo>
                      <a:pt x="259" y="124"/>
                      <a:pt x="260" y="123"/>
                      <a:pt x="261" y="123"/>
                    </a:cubicBezTo>
                    <a:cubicBezTo>
                      <a:pt x="269" y="123"/>
                      <a:pt x="269" y="123"/>
                      <a:pt x="269" y="123"/>
                    </a:cubicBezTo>
                    <a:cubicBezTo>
                      <a:pt x="270" y="123"/>
                      <a:pt x="271" y="123"/>
                      <a:pt x="272" y="123"/>
                    </a:cubicBezTo>
                    <a:cubicBezTo>
                      <a:pt x="273" y="122"/>
                      <a:pt x="273" y="121"/>
                      <a:pt x="273" y="119"/>
                    </a:cubicBezTo>
                    <a:cubicBezTo>
                      <a:pt x="273" y="118"/>
                      <a:pt x="273" y="117"/>
                      <a:pt x="272" y="115"/>
                    </a:cubicBezTo>
                    <a:cubicBezTo>
                      <a:pt x="265" y="107"/>
                      <a:pt x="265" y="107"/>
                      <a:pt x="265" y="107"/>
                    </a:cubicBezTo>
                    <a:cubicBezTo>
                      <a:pt x="263" y="105"/>
                      <a:pt x="261" y="104"/>
                      <a:pt x="258" y="104"/>
                    </a:cubicBezTo>
                    <a:cubicBezTo>
                      <a:pt x="257" y="104"/>
                      <a:pt x="255" y="104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4" y="105"/>
                      <a:pt x="254" y="105"/>
                      <a:pt x="254" y="105"/>
                    </a:cubicBezTo>
                    <a:cubicBezTo>
                      <a:pt x="254" y="106"/>
                      <a:pt x="254" y="106"/>
                      <a:pt x="254" y="106"/>
                    </a:cubicBezTo>
                    <a:cubicBezTo>
                      <a:pt x="255" y="106"/>
                      <a:pt x="255" y="106"/>
                      <a:pt x="255" y="106"/>
                    </a:cubicBezTo>
                    <a:cubicBezTo>
                      <a:pt x="255" y="105"/>
                      <a:pt x="255" y="105"/>
                      <a:pt x="255" y="105"/>
                    </a:cubicBezTo>
                    <a:cubicBezTo>
                      <a:pt x="255" y="104"/>
                      <a:pt x="255" y="104"/>
                      <a:pt x="255" y="104"/>
                    </a:cubicBezTo>
                    <a:cubicBezTo>
                      <a:pt x="255" y="101"/>
                      <a:pt x="255" y="101"/>
                      <a:pt x="255" y="101"/>
                    </a:cubicBezTo>
                    <a:cubicBezTo>
                      <a:pt x="256" y="100"/>
                      <a:pt x="257" y="98"/>
                      <a:pt x="257" y="98"/>
                    </a:cubicBezTo>
                    <a:cubicBezTo>
                      <a:pt x="258" y="97"/>
                      <a:pt x="259" y="96"/>
                      <a:pt x="260" y="96"/>
                    </a:cubicBezTo>
                    <a:cubicBezTo>
                      <a:pt x="269" y="96"/>
                      <a:pt x="269" y="96"/>
                      <a:pt x="269" y="96"/>
                    </a:cubicBezTo>
                    <a:cubicBezTo>
                      <a:pt x="271" y="96"/>
                      <a:pt x="272" y="96"/>
                      <a:pt x="274" y="95"/>
                    </a:cubicBezTo>
                    <a:cubicBezTo>
                      <a:pt x="276" y="94"/>
                      <a:pt x="278" y="93"/>
                      <a:pt x="279" y="91"/>
                    </a:cubicBezTo>
                    <a:cubicBezTo>
                      <a:pt x="280" y="90"/>
                      <a:pt x="280" y="88"/>
                      <a:pt x="280" y="86"/>
                    </a:cubicBezTo>
                    <a:cubicBezTo>
                      <a:pt x="280" y="84"/>
                      <a:pt x="279" y="82"/>
                      <a:pt x="278" y="80"/>
                    </a:cubicBezTo>
                    <a:cubicBezTo>
                      <a:pt x="246" y="45"/>
                      <a:pt x="246" y="45"/>
                      <a:pt x="246" y="45"/>
                    </a:cubicBezTo>
                    <a:cubicBezTo>
                      <a:pt x="245" y="44"/>
                      <a:pt x="244" y="43"/>
                      <a:pt x="242" y="43"/>
                    </a:cubicBezTo>
                    <a:cubicBezTo>
                      <a:pt x="242" y="43"/>
                      <a:pt x="241" y="43"/>
                      <a:pt x="240" y="44"/>
                    </a:cubicBezTo>
                    <a:cubicBezTo>
                      <a:pt x="239" y="44"/>
                      <a:pt x="239" y="45"/>
                      <a:pt x="239" y="46"/>
                    </a:cubicBezTo>
                    <a:cubicBezTo>
                      <a:pt x="238" y="47"/>
                      <a:pt x="238" y="48"/>
                      <a:pt x="238" y="49"/>
                    </a:cubicBezTo>
                    <a:cubicBezTo>
                      <a:pt x="238" y="51"/>
                      <a:pt x="238" y="51"/>
                      <a:pt x="238" y="51"/>
                    </a:cubicBezTo>
                    <a:cubicBezTo>
                      <a:pt x="238" y="52"/>
                      <a:pt x="238" y="52"/>
                      <a:pt x="238" y="53"/>
                    </a:cubicBezTo>
                    <a:cubicBezTo>
                      <a:pt x="238" y="53"/>
                      <a:pt x="238" y="53"/>
                      <a:pt x="238" y="53"/>
                    </a:cubicBezTo>
                    <a:cubicBezTo>
                      <a:pt x="237" y="53"/>
                      <a:pt x="237" y="53"/>
                      <a:pt x="237" y="53"/>
                    </a:cubicBezTo>
                    <a:cubicBezTo>
                      <a:pt x="214" y="38"/>
                      <a:pt x="214" y="38"/>
                      <a:pt x="214" y="38"/>
                    </a:cubicBezTo>
                    <a:cubicBezTo>
                      <a:pt x="213" y="38"/>
                      <a:pt x="212" y="37"/>
                      <a:pt x="211" y="37"/>
                    </a:cubicBezTo>
                    <a:cubicBezTo>
                      <a:pt x="210" y="37"/>
                      <a:pt x="209" y="38"/>
                      <a:pt x="208" y="39"/>
                    </a:cubicBezTo>
                    <a:cubicBezTo>
                      <a:pt x="207" y="40"/>
                      <a:pt x="207" y="41"/>
                      <a:pt x="207" y="42"/>
                    </a:cubicBezTo>
                    <a:cubicBezTo>
                      <a:pt x="207" y="43"/>
                      <a:pt x="207" y="43"/>
                      <a:pt x="207" y="44"/>
                    </a:cubicBezTo>
                    <a:cubicBezTo>
                      <a:pt x="211" y="57"/>
                      <a:pt x="211" y="57"/>
                      <a:pt x="211" y="57"/>
                    </a:cubicBezTo>
                    <a:cubicBezTo>
                      <a:pt x="211" y="61"/>
                      <a:pt x="212" y="67"/>
                      <a:pt x="212" y="70"/>
                    </a:cubicBezTo>
                    <a:cubicBezTo>
                      <a:pt x="212" y="87"/>
                      <a:pt x="212" y="87"/>
                      <a:pt x="212" y="87"/>
                    </a:cubicBezTo>
                    <a:cubicBezTo>
                      <a:pt x="212" y="88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2" y="89"/>
                      <a:pt x="212" y="89"/>
                      <a:pt x="212" y="89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3" y="88"/>
                      <a:pt x="213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13" y="90"/>
                      <a:pt x="213" y="90"/>
                      <a:pt x="213" y="90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9"/>
                      <a:pt x="214" y="89"/>
                    </a:cubicBezTo>
                    <a:cubicBezTo>
                      <a:pt x="214" y="89"/>
                      <a:pt x="214" y="88"/>
                      <a:pt x="213" y="88"/>
                    </a:cubicBezTo>
                    <a:cubicBezTo>
                      <a:pt x="208" y="77"/>
                      <a:pt x="208" y="77"/>
                      <a:pt x="208" y="77"/>
                    </a:cubicBezTo>
                    <a:cubicBezTo>
                      <a:pt x="206" y="74"/>
                      <a:pt x="203" y="70"/>
                      <a:pt x="200" y="68"/>
                    </a:cubicBezTo>
                    <a:cubicBezTo>
                      <a:pt x="178" y="54"/>
                      <a:pt x="178" y="54"/>
                      <a:pt x="178" y="54"/>
                    </a:cubicBezTo>
                    <a:cubicBezTo>
                      <a:pt x="177" y="53"/>
                      <a:pt x="177" y="51"/>
                      <a:pt x="177" y="49"/>
                    </a:cubicBezTo>
                    <a:cubicBezTo>
                      <a:pt x="177" y="49"/>
                      <a:pt x="177" y="48"/>
                      <a:pt x="177" y="47"/>
                    </a:cubicBezTo>
                    <a:cubicBezTo>
                      <a:pt x="181" y="36"/>
                      <a:pt x="181" y="36"/>
                      <a:pt x="181" y="36"/>
                    </a:cubicBezTo>
                    <a:cubicBezTo>
                      <a:pt x="181" y="35"/>
                      <a:pt x="181" y="34"/>
                      <a:pt x="181" y="32"/>
                    </a:cubicBezTo>
                    <a:cubicBezTo>
                      <a:pt x="181" y="29"/>
                      <a:pt x="180" y="26"/>
                      <a:pt x="177" y="24"/>
                    </a:cubicBezTo>
                    <a:cubicBezTo>
                      <a:pt x="151" y="10"/>
                      <a:pt x="151" y="10"/>
                      <a:pt x="151" y="10"/>
                    </a:cubicBezTo>
                    <a:cubicBezTo>
                      <a:pt x="149" y="9"/>
                      <a:pt x="148" y="9"/>
                      <a:pt x="147" y="9"/>
                    </a:cubicBezTo>
                    <a:cubicBezTo>
                      <a:pt x="144" y="9"/>
                      <a:pt x="141" y="10"/>
                      <a:pt x="139" y="12"/>
                    </a:cubicBezTo>
                    <a:cubicBezTo>
                      <a:pt x="139" y="13"/>
                      <a:pt x="138" y="14"/>
                      <a:pt x="137" y="14"/>
                    </a:cubicBezTo>
                    <a:cubicBezTo>
                      <a:pt x="136" y="14"/>
                      <a:pt x="135" y="13"/>
                      <a:pt x="135" y="13"/>
                    </a:cubicBezTo>
                    <a:cubicBezTo>
                      <a:pt x="127" y="5"/>
                      <a:pt x="127" y="5"/>
                      <a:pt x="127" y="5"/>
                    </a:cubicBezTo>
                    <a:cubicBezTo>
                      <a:pt x="126" y="4"/>
                      <a:pt x="124" y="3"/>
                      <a:pt x="122" y="2"/>
                    </a:cubicBezTo>
                    <a:cubicBezTo>
                      <a:pt x="120" y="1"/>
                      <a:pt x="118" y="1"/>
                      <a:pt x="116" y="1"/>
                    </a:cubicBezTo>
                    <a:cubicBezTo>
                      <a:pt x="108" y="1"/>
                      <a:pt x="108" y="1"/>
                      <a:pt x="108" y="1"/>
                    </a:cubicBezTo>
                    <a:cubicBezTo>
                      <a:pt x="107" y="1"/>
                      <a:pt x="105" y="1"/>
                      <a:pt x="103" y="2"/>
                    </a:cubicBezTo>
                    <a:cubicBezTo>
                      <a:pt x="101" y="2"/>
                      <a:pt x="99" y="3"/>
                      <a:pt x="97" y="4"/>
                    </a:cubicBezTo>
                    <a:cubicBezTo>
                      <a:pt x="95" y="6"/>
                      <a:pt x="95" y="6"/>
                      <a:pt x="95" y="6"/>
                    </a:cubicBezTo>
                    <a:cubicBezTo>
                      <a:pt x="94" y="7"/>
                      <a:pt x="93" y="7"/>
                      <a:pt x="91" y="7"/>
                    </a:cubicBezTo>
                    <a:cubicBezTo>
                      <a:pt x="90" y="7"/>
                      <a:pt x="89" y="7"/>
                      <a:pt x="88" y="6"/>
                    </a:cubicBezTo>
                    <a:cubicBezTo>
                      <a:pt x="83" y="3"/>
                      <a:pt x="83" y="3"/>
                      <a:pt x="83" y="3"/>
                    </a:cubicBezTo>
                    <a:cubicBezTo>
                      <a:pt x="81" y="2"/>
                      <a:pt x="79" y="1"/>
                      <a:pt x="78" y="1"/>
                    </a:cubicBezTo>
                    <a:cubicBezTo>
                      <a:pt x="76" y="0"/>
                      <a:pt x="74" y="0"/>
                      <a:pt x="72" y="0"/>
                    </a:cubicBezTo>
                    <a:cubicBezTo>
                      <a:pt x="47" y="0"/>
                      <a:pt x="47" y="0"/>
                      <a:pt x="47" y="0"/>
                    </a:cubicBezTo>
                    <a:cubicBezTo>
                      <a:pt x="45" y="0"/>
                      <a:pt x="43" y="0"/>
                      <a:pt x="41" y="1"/>
                    </a:cubicBezTo>
                    <a:cubicBezTo>
                      <a:pt x="39" y="2"/>
                      <a:pt x="38" y="3"/>
                      <a:pt x="36" y="5"/>
                    </a:cubicBezTo>
                    <a:lnTo>
                      <a:pt x="38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6" name="Freeform 281"/>
              <p:cNvSpPr>
                <a:spLocks/>
              </p:cNvSpPr>
              <p:nvPr/>
            </p:nvSpPr>
            <p:spPr bwMode="auto">
              <a:xfrm>
                <a:off x="-5010148" y="2547935"/>
                <a:ext cx="230187" cy="187324"/>
              </a:xfrm>
              <a:custGeom>
                <a:avLst/>
                <a:gdLst/>
                <a:ahLst/>
                <a:cxnLst>
                  <a:cxn ang="0">
                    <a:pos x="8" y="4"/>
                  </a:cxn>
                  <a:cxn ang="0">
                    <a:pos x="36" y="15"/>
                  </a:cxn>
                  <a:cxn ang="0">
                    <a:pos x="48" y="28"/>
                  </a:cxn>
                  <a:cxn ang="0">
                    <a:pos x="53" y="30"/>
                  </a:cxn>
                  <a:cxn ang="0">
                    <a:pos x="54" y="31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7" y="33"/>
                  </a:cxn>
                  <a:cxn ang="0">
                    <a:pos x="56" y="33"/>
                  </a:cxn>
                  <a:cxn ang="0">
                    <a:pos x="55" y="33"/>
                  </a:cxn>
                  <a:cxn ang="0">
                    <a:pos x="53" y="38"/>
                  </a:cxn>
                  <a:cxn ang="0">
                    <a:pos x="55" y="42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6" y="46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7" y="45"/>
                  </a:cxn>
                  <a:cxn ang="0">
                    <a:pos x="53" y="45"/>
                  </a:cxn>
                  <a:cxn ang="0">
                    <a:pos x="33" y="36"/>
                  </a:cxn>
                  <a:cxn ang="0">
                    <a:pos x="34" y="34"/>
                  </a:cxn>
                  <a:cxn ang="0">
                    <a:pos x="37" y="30"/>
                  </a:cxn>
                  <a:cxn ang="0">
                    <a:pos x="33" y="19"/>
                  </a:cxn>
                  <a:cxn ang="0">
                    <a:pos x="19" y="12"/>
                  </a:cxn>
                  <a:cxn ang="0">
                    <a:pos x="12" y="12"/>
                  </a:cxn>
                  <a:cxn ang="0">
                    <a:pos x="4" y="7"/>
                  </a:cxn>
                  <a:cxn ang="0">
                    <a:pos x="3" y="4"/>
                  </a:cxn>
                  <a:cxn ang="0">
                    <a:pos x="1" y="9"/>
                  </a:cxn>
                  <a:cxn ang="0">
                    <a:pos x="9" y="15"/>
                  </a:cxn>
                  <a:cxn ang="0">
                    <a:pos x="19" y="16"/>
                  </a:cxn>
                  <a:cxn ang="0">
                    <a:pos x="29" y="22"/>
                  </a:cxn>
                  <a:cxn ang="0">
                    <a:pos x="33" y="30"/>
                  </a:cxn>
                  <a:cxn ang="0">
                    <a:pos x="33" y="31"/>
                  </a:cxn>
                  <a:cxn ang="0">
                    <a:pos x="33" y="31"/>
                  </a:cxn>
                  <a:cxn ang="0">
                    <a:pos x="34" y="30"/>
                  </a:cxn>
                  <a:cxn ang="0">
                    <a:pos x="34" y="30"/>
                  </a:cxn>
                  <a:cxn ang="0">
                    <a:pos x="31" y="40"/>
                  </a:cxn>
                  <a:cxn ang="0">
                    <a:pos x="56" y="50"/>
                  </a:cxn>
                  <a:cxn ang="0">
                    <a:pos x="60" y="48"/>
                  </a:cxn>
                  <a:cxn ang="0">
                    <a:pos x="60" y="42"/>
                  </a:cxn>
                  <a:cxn ang="0">
                    <a:pos x="56" y="37"/>
                  </a:cxn>
                  <a:cxn ang="0">
                    <a:pos x="56" y="36"/>
                  </a:cxn>
                  <a:cxn ang="0">
                    <a:pos x="56" y="36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6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55" y="37"/>
                  </a:cxn>
                  <a:cxn ang="0">
                    <a:pos x="61" y="34"/>
                  </a:cxn>
                  <a:cxn ang="0">
                    <a:pos x="56" y="27"/>
                  </a:cxn>
                  <a:cxn ang="0">
                    <a:pos x="55" y="26"/>
                  </a:cxn>
                  <a:cxn ang="0">
                    <a:pos x="51" y="24"/>
                  </a:cxn>
                  <a:cxn ang="0">
                    <a:pos x="39" y="11"/>
                  </a:cxn>
                  <a:cxn ang="0">
                    <a:pos x="8" y="0"/>
                  </a:cxn>
                </a:cxnLst>
                <a:rect l="0" t="0" r="r" b="b"/>
                <a:pathLst>
                  <a:path w="61" h="50">
                    <a:moveTo>
                      <a:pt x="3" y="4"/>
                    </a:moveTo>
                    <a:cubicBezTo>
                      <a:pt x="4" y="6"/>
                      <a:pt x="4" y="6"/>
                      <a:pt x="4" y="6"/>
                    </a:cubicBezTo>
                    <a:cubicBezTo>
                      <a:pt x="5" y="5"/>
                      <a:pt x="6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33" y="12"/>
                      <a:pt x="33" y="12"/>
                      <a:pt x="33" y="12"/>
                    </a:cubicBezTo>
                    <a:cubicBezTo>
                      <a:pt x="34" y="13"/>
                      <a:pt x="35" y="14"/>
                      <a:pt x="36" y="15"/>
                    </a:cubicBezTo>
                    <a:cubicBezTo>
                      <a:pt x="38" y="16"/>
                      <a:pt x="39" y="17"/>
                      <a:pt x="40" y="18"/>
                    </a:cubicBezTo>
                    <a:cubicBezTo>
                      <a:pt x="44" y="23"/>
                      <a:pt x="44" y="23"/>
                      <a:pt x="44" y="23"/>
                    </a:cubicBezTo>
                    <a:cubicBezTo>
                      <a:pt x="45" y="25"/>
                      <a:pt x="46" y="26"/>
                      <a:pt x="48" y="28"/>
                    </a:cubicBezTo>
                    <a:cubicBezTo>
                      <a:pt x="50" y="29"/>
                      <a:pt x="52" y="30"/>
                      <a:pt x="53" y="30"/>
                    </a:cubicBezTo>
                    <a:cubicBezTo>
                      <a:pt x="54" y="28"/>
                      <a:pt x="54" y="28"/>
                      <a:pt x="54" y="28"/>
                    </a:cubicBezTo>
                    <a:cubicBezTo>
                      <a:pt x="53" y="30"/>
                      <a:pt x="53" y="30"/>
                      <a:pt x="53" y="30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4" y="31"/>
                      <a:pt x="54" y="31"/>
                      <a:pt x="54" y="31"/>
                    </a:cubicBezTo>
                    <a:cubicBezTo>
                      <a:pt x="55" y="31"/>
                      <a:pt x="56" y="32"/>
                      <a:pt x="56" y="32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7" y="33"/>
                    </a:cubicBezTo>
                    <a:cubicBezTo>
                      <a:pt x="57" y="33"/>
                      <a:pt x="57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6" y="33"/>
                      <a:pt x="56" y="33"/>
                      <a:pt x="56" y="33"/>
                    </a:cubicBezTo>
                    <a:cubicBezTo>
                      <a:pt x="55" y="33"/>
                      <a:pt x="55" y="33"/>
                      <a:pt x="55" y="33"/>
                    </a:cubicBezTo>
                    <a:cubicBezTo>
                      <a:pt x="54" y="33"/>
                      <a:pt x="53" y="33"/>
                      <a:pt x="53" y="34"/>
                    </a:cubicBezTo>
                    <a:cubicBezTo>
                      <a:pt x="52" y="35"/>
                      <a:pt x="52" y="35"/>
                      <a:pt x="52" y="36"/>
                    </a:cubicBezTo>
                    <a:cubicBezTo>
                      <a:pt x="52" y="37"/>
                      <a:pt x="52" y="38"/>
                      <a:pt x="53" y="38"/>
                    </a:cubicBezTo>
                    <a:cubicBezTo>
                      <a:pt x="53" y="39"/>
                      <a:pt x="53" y="40"/>
                      <a:pt x="54" y="41"/>
                    </a:cubicBezTo>
                    <a:cubicBezTo>
                      <a:pt x="55" y="41"/>
                      <a:pt x="55" y="41"/>
                      <a:pt x="55" y="41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5" y="42"/>
                      <a:pt x="55" y="42"/>
                    </a:cubicBezTo>
                    <a:cubicBezTo>
                      <a:pt x="55" y="42"/>
                      <a:pt x="56" y="43"/>
                      <a:pt x="56" y="44"/>
                    </a:cubicBezTo>
                    <a:cubicBezTo>
                      <a:pt x="56" y="45"/>
                      <a:pt x="56" y="45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6"/>
                      <a:pt x="56" y="46"/>
                      <a:pt x="56" y="46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6"/>
                      <a:pt x="57" y="46"/>
                      <a:pt x="57" y="46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7" y="45"/>
                      <a:pt x="57" y="45"/>
                      <a:pt x="57" y="45"/>
                    </a:cubicBezTo>
                    <a:cubicBezTo>
                      <a:pt x="56" y="45"/>
                      <a:pt x="56" y="45"/>
                      <a:pt x="56" y="45"/>
                    </a:cubicBezTo>
                    <a:cubicBezTo>
                      <a:pt x="55" y="45"/>
                      <a:pt x="54" y="45"/>
                      <a:pt x="53" y="45"/>
                    </a:cubicBezTo>
                    <a:cubicBezTo>
                      <a:pt x="37" y="39"/>
                      <a:pt x="37" y="39"/>
                      <a:pt x="37" y="39"/>
                    </a:cubicBezTo>
                    <a:cubicBezTo>
                      <a:pt x="36" y="38"/>
                      <a:pt x="35" y="37"/>
                      <a:pt x="34" y="37"/>
                    </a:cubicBezTo>
                    <a:cubicBezTo>
                      <a:pt x="33" y="36"/>
                      <a:pt x="33" y="36"/>
                      <a:pt x="33" y="36"/>
                    </a:cubicBezTo>
                    <a:cubicBezTo>
                      <a:pt x="33" y="35"/>
                      <a:pt x="33" y="35"/>
                      <a:pt x="33" y="35"/>
                    </a:cubicBezTo>
                    <a:cubicBezTo>
                      <a:pt x="33" y="35"/>
                      <a:pt x="33" y="35"/>
                      <a:pt x="33" y="34"/>
                    </a:cubicBezTo>
                    <a:cubicBezTo>
                      <a:pt x="34" y="34"/>
                      <a:pt x="34" y="34"/>
                      <a:pt x="34" y="34"/>
                    </a:cubicBezTo>
                    <a:cubicBezTo>
                      <a:pt x="35" y="34"/>
                      <a:pt x="35" y="34"/>
                      <a:pt x="35" y="34"/>
                    </a:cubicBezTo>
                    <a:cubicBezTo>
                      <a:pt x="36" y="33"/>
                      <a:pt x="37" y="33"/>
                      <a:pt x="37" y="32"/>
                    </a:cubicBezTo>
                    <a:cubicBezTo>
                      <a:pt x="37" y="31"/>
                      <a:pt x="37" y="31"/>
                      <a:pt x="37" y="30"/>
                    </a:cubicBezTo>
                    <a:cubicBezTo>
                      <a:pt x="37" y="28"/>
                      <a:pt x="37" y="27"/>
                      <a:pt x="36" y="25"/>
                    </a:cubicBezTo>
                    <a:cubicBezTo>
                      <a:pt x="36" y="25"/>
                      <a:pt x="36" y="25"/>
                      <a:pt x="36" y="25"/>
                    </a:cubicBezTo>
                    <a:cubicBezTo>
                      <a:pt x="35" y="23"/>
                      <a:pt x="34" y="21"/>
                      <a:pt x="33" y="19"/>
                    </a:cubicBezTo>
                    <a:cubicBezTo>
                      <a:pt x="31" y="18"/>
                      <a:pt x="30" y="16"/>
                      <a:pt x="28" y="15"/>
                    </a:cubicBezTo>
                    <a:cubicBezTo>
                      <a:pt x="26" y="14"/>
                      <a:pt x="26" y="14"/>
                      <a:pt x="26" y="14"/>
                    </a:cubicBezTo>
                    <a:cubicBezTo>
                      <a:pt x="24" y="13"/>
                      <a:pt x="21" y="12"/>
                      <a:pt x="19" y="12"/>
                    </a:cubicBezTo>
                    <a:cubicBezTo>
                      <a:pt x="18" y="12"/>
                      <a:pt x="17" y="12"/>
                      <a:pt x="16" y="13"/>
                    </a:cubicBezTo>
                    <a:cubicBezTo>
                      <a:pt x="15" y="13"/>
                      <a:pt x="15" y="13"/>
                      <a:pt x="14" y="13"/>
                    </a:cubicBezTo>
                    <a:cubicBezTo>
                      <a:pt x="13" y="13"/>
                      <a:pt x="12" y="12"/>
                      <a:pt x="12" y="12"/>
                    </a:cubicBezTo>
                    <a:cubicBezTo>
                      <a:pt x="12" y="11"/>
                      <a:pt x="11" y="10"/>
                      <a:pt x="9" y="9"/>
                    </a:cubicBezTo>
                    <a:cubicBezTo>
                      <a:pt x="8" y="8"/>
                      <a:pt x="6" y="8"/>
                      <a:pt x="5" y="7"/>
                    </a:cubicBezTo>
                    <a:cubicBezTo>
                      <a:pt x="4" y="7"/>
                      <a:pt x="4" y="7"/>
                      <a:pt x="4" y="7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1" y="3"/>
                      <a:pt x="1" y="3"/>
                      <a:pt x="1" y="3"/>
                    </a:cubicBezTo>
                    <a:cubicBezTo>
                      <a:pt x="0" y="4"/>
                      <a:pt x="0" y="5"/>
                      <a:pt x="0" y="6"/>
                    </a:cubicBezTo>
                    <a:cubicBezTo>
                      <a:pt x="0" y="7"/>
                      <a:pt x="0" y="9"/>
                      <a:pt x="1" y="9"/>
                    </a:cubicBezTo>
                    <a:cubicBezTo>
                      <a:pt x="2" y="10"/>
                      <a:pt x="3" y="11"/>
                      <a:pt x="4" y="11"/>
                    </a:cubicBezTo>
                    <a:cubicBezTo>
                      <a:pt x="5" y="12"/>
                      <a:pt x="6" y="12"/>
                      <a:pt x="7" y="13"/>
                    </a:cubicBezTo>
                    <a:cubicBezTo>
                      <a:pt x="8" y="14"/>
                      <a:pt x="9" y="14"/>
                      <a:pt x="9" y="15"/>
                    </a:cubicBezTo>
                    <a:cubicBezTo>
                      <a:pt x="10" y="16"/>
                      <a:pt x="12" y="17"/>
                      <a:pt x="14" y="17"/>
                    </a:cubicBezTo>
                    <a:cubicBezTo>
                      <a:pt x="15" y="17"/>
                      <a:pt x="16" y="17"/>
                      <a:pt x="17" y="17"/>
                    </a:cubicBezTo>
                    <a:cubicBezTo>
                      <a:pt x="17" y="17"/>
                      <a:pt x="18" y="16"/>
                      <a:pt x="19" y="16"/>
                    </a:cubicBezTo>
                    <a:cubicBezTo>
                      <a:pt x="20" y="16"/>
                      <a:pt x="22" y="17"/>
                      <a:pt x="24" y="18"/>
                    </a:cubicBezTo>
                    <a:cubicBezTo>
                      <a:pt x="26" y="19"/>
                      <a:pt x="26" y="19"/>
                      <a:pt x="26" y="19"/>
                    </a:cubicBezTo>
                    <a:cubicBezTo>
                      <a:pt x="27" y="19"/>
                      <a:pt x="28" y="21"/>
                      <a:pt x="29" y="22"/>
                    </a:cubicBezTo>
                    <a:cubicBezTo>
                      <a:pt x="31" y="23"/>
                      <a:pt x="32" y="25"/>
                      <a:pt x="32" y="26"/>
                    </a:cubicBezTo>
                    <a:cubicBezTo>
                      <a:pt x="32" y="27"/>
                      <a:pt x="32" y="27"/>
                      <a:pt x="32" y="27"/>
                    </a:cubicBezTo>
                    <a:cubicBezTo>
                      <a:pt x="33" y="28"/>
                      <a:pt x="33" y="29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3" y="31"/>
                      <a:pt x="33" y="31"/>
                      <a:pt x="33" y="31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31"/>
                      <a:pt x="34" y="31"/>
                      <a:pt x="34" y="31"/>
                    </a:cubicBezTo>
                    <a:cubicBezTo>
                      <a:pt x="34" y="30"/>
                      <a:pt x="34" y="30"/>
                      <a:pt x="34" y="30"/>
                    </a:cubicBezTo>
                    <a:cubicBezTo>
                      <a:pt x="32" y="30"/>
                      <a:pt x="31" y="31"/>
                      <a:pt x="30" y="32"/>
                    </a:cubicBezTo>
                    <a:cubicBezTo>
                      <a:pt x="29" y="33"/>
                      <a:pt x="29" y="34"/>
                      <a:pt x="29" y="35"/>
                    </a:cubicBezTo>
                    <a:cubicBezTo>
                      <a:pt x="29" y="37"/>
                      <a:pt x="30" y="39"/>
                      <a:pt x="31" y="40"/>
                    </a:cubicBezTo>
                    <a:cubicBezTo>
                      <a:pt x="32" y="41"/>
                      <a:pt x="33" y="42"/>
                      <a:pt x="35" y="43"/>
                    </a:cubicBezTo>
                    <a:cubicBezTo>
                      <a:pt x="51" y="49"/>
                      <a:pt x="51" y="49"/>
                      <a:pt x="51" y="49"/>
                    </a:cubicBezTo>
                    <a:cubicBezTo>
                      <a:pt x="53" y="49"/>
                      <a:pt x="54" y="50"/>
                      <a:pt x="56" y="50"/>
                    </a:cubicBezTo>
                    <a:cubicBezTo>
                      <a:pt x="57" y="50"/>
                      <a:pt x="57" y="50"/>
                      <a:pt x="58" y="49"/>
                    </a:cubicBezTo>
                    <a:cubicBezTo>
                      <a:pt x="59" y="49"/>
                      <a:pt x="59" y="49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0" y="48"/>
                      <a:pt x="60" y="48"/>
                      <a:pt x="60" y="48"/>
                    </a:cubicBezTo>
                    <a:cubicBezTo>
                      <a:pt x="61" y="47"/>
                      <a:pt x="61" y="47"/>
                      <a:pt x="61" y="46"/>
                    </a:cubicBezTo>
                    <a:cubicBezTo>
                      <a:pt x="61" y="45"/>
                      <a:pt x="60" y="44"/>
                      <a:pt x="60" y="42"/>
                    </a:cubicBezTo>
                    <a:cubicBezTo>
                      <a:pt x="60" y="41"/>
                      <a:pt x="59" y="40"/>
                      <a:pt x="58" y="39"/>
                    </a:cubicBezTo>
                    <a:cubicBezTo>
                      <a:pt x="57" y="38"/>
                      <a:pt x="57" y="38"/>
                      <a:pt x="57" y="38"/>
                    </a:cubicBezTo>
                    <a:cubicBezTo>
                      <a:pt x="57" y="37"/>
                      <a:pt x="57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6" y="36"/>
                      <a:pt x="56" y="36"/>
                      <a:pt x="56" y="36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6" y="37"/>
                      <a:pt x="56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6" y="37"/>
                    </a:cubicBezTo>
                    <a:cubicBezTo>
                      <a:pt x="55" y="36"/>
                      <a:pt x="55" y="36"/>
                      <a:pt x="55" y="36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7"/>
                      <a:pt x="55" y="37"/>
                      <a:pt x="55" y="37"/>
                    </a:cubicBezTo>
                    <a:cubicBezTo>
                      <a:pt x="55" y="38"/>
                      <a:pt x="56" y="38"/>
                      <a:pt x="56" y="38"/>
                    </a:cubicBezTo>
                    <a:cubicBezTo>
                      <a:pt x="59" y="38"/>
                      <a:pt x="61" y="36"/>
                      <a:pt x="61" y="34"/>
                    </a:cubicBezTo>
                    <a:cubicBezTo>
                      <a:pt x="61" y="33"/>
                      <a:pt x="61" y="33"/>
                      <a:pt x="61" y="33"/>
                    </a:cubicBezTo>
                    <a:cubicBezTo>
                      <a:pt x="61" y="31"/>
                      <a:pt x="60" y="30"/>
                      <a:pt x="59" y="29"/>
                    </a:cubicBezTo>
                    <a:cubicBezTo>
                      <a:pt x="58" y="28"/>
                      <a:pt x="57" y="27"/>
                      <a:pt x="56" y="27"/>
                    </a:cubicBezTo>
                    <a:cubicBezTo>
                      <a:pt x="55" y="29"/>
                      <a:pt x="55" y="29"/>
                      <a:pt x="55" y="29"/>
                    </a:cubicBezTo>
                    <a:cubicBezTo>
                      <a:pt x="56" y="27"/>
                      <a:pt x="56" y="27"/>
                      <a:pt x="56" y="27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5" y="26"/>
                      <a:pt x="55" y="26"/>
                      <a:pt x="55" y="26"/>
                    </a:cubicBezTo>
                    <a:cubicBezTo>
                      <a:pt x="54" y="26"/>
                      <a:pt x="52" y="25"/>
                      <a:pt x="51" y="24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3" y="16"/>
                      <a:pt x="43" y="16"/>
                      <a:pt x="43" y="16"/>
                    </a:cubicBezTo>
                    <a:cubicBezTo>
                      <a:pt x="42" y="14"/>
                      <a:pt x="41" y="12"/>
                      <a:pt x="39" y="11"/>
                    </a:cubicBezTo>
                    <a:cubicBezTo>
                      <a:pt x="37" y="10"/>
                      <a:pt x="36" y="9"/>
                      <a:pt x="34" y="8"/>
                    </a:cubicBezTo>
                    <a:cubicBezTo>
                      <a:pt x="11" y="0"/>
                      <a:pt x="11" y="0"/>
                      <a:pt x="11" y="0"/>
                    </a:cubicBezTo>
                    <a:cubicBezTo>
                      <a:pt x="10" y="0"/>
                      <a:pt x="9" y="0"/>
                      <a:pt x="8" y="0"/>
                    </a:cubicBezTo>
                    <a:cubicBezTo>
                      <a:pt x="5" y="0"/>
                      <a:pt x="2" y="1"/>
                      <a:pt x="1" y="3"/>
                    </a:cubicBezTo>
                    <a:lnTo>
                      <a:pt x="3" y="4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7" name="Freeform 282"/>
              <p:cNvSpPr>
                <a:spLocks/>
              </p:cNvSpPr>
              <p:nvPr/>
            </p:nvSpPr>
            <p:spPr bwMode="auto">
              <a:xfrm>
                <a:off x="-4938711" y="2427285"/>
                <a:ext cx="384175" cy="342899"/>
              </a:xfrm>
              <a:custGeom>
                <a:avLst/>
                <a:gdLst/>
                <a:ahLst/>
                <a:cxnLst>
                  <a:cxn ang="0">
                    <a:pos x="5" y="9"/>
                  </a:cxn>
                  <a:cxn ang="0">
                    <a:pos x="5" y="9"/>
                  </a:cxn>
                  <a:cxn ang="0">
                    <a:pos x="5" y="9"/>
                  </a:cxn>
                  <a:cxn ang="0">
                    <a:pos x="6" y="8"/>
                  </a:cxn>
                  <a:cxn ang="0">
                    <a:pos x="19" y="11"/>
                  </a:cxn>
                  <a:cxn ang="0">
                    <a:pos x="25" y="5"/>
                  </a:cxn>
                  <a:cxn ang="0">
                    <a:pos x="25" y="5"/>
                  </a:cxn>
                  <a:cxn ang="0">
                    <a:pos x="36" y="7"/>
                  </a:cxn>
                  <a:cxn ang="0">
                    <a:pos x="53" y="14"/>
                  </a:cxn>
                  <a:cxn ang="0">
                    <a:pos x="60" y="13"/>
                  </a:cxn>
                  <a:cxn ang="0">
                    <a:pos x="93" y="33"/>
                  </a:cxn>
                  <a:cxn ang="0">
                    <a:pos x="98" y="59"/>
                  </a:cxn>
                  <a:cxn ang="0">
                    <a:pos x="93" y="72"/>
                  </a:cxn>
                  <a:cxn ang="0">
                    <a:pos x="96" y="87"/>
                  </a:cxn>
                  <a:cxn ang="0">
                    <a:pos x="96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97" y="87"/>
                  </a:cxn>
                  <a:cxn ang="0">
                    <a:pos x="65" y="60"/>
                  </a:cxn>
                  <a:cxn ang="0">
                    <a:pos x="57" y="42"/>
                  </a:cxn>
                  <a:cxn ang="0">
                    <a:pos x="30" y="23"/>
                  </a:cxn>
                  <a:cxn ang="0">
                    <a:pos x="12" y="23"/>
                  </a:cxn>
                  <a:cxn ang="0">
                    <a:pos x="11" y="22"/>
                  </a:cxn>
                  <a:cxn ang="0">
                    <a:pos x="10" y="22"/>
                  </a:cxn>
                  <a:cxn ang="0">
                    <a:pos x="11" y="22"/>
                  </a:cxn>
                  <a:cxn ang="0">
                    <a:pos x="11" y="21"/>
                  </a:cxn>
                  <a:cxn ang="0">
                    <a:pos x="5" y="15"/>
                  </a:cxn>
                  <a:cxn ang="0">
                    <a:pos x="4" y="16"/>
                  </a:cxn>
                  <a:cxn ang="0">
                    <a:pos x="5" y="16"/>
                  </a:cxn>
                  <a:cxn ang="0">
                    <a:pos x="5" y="9"/>
                  </a:cxn>
                  <a:cxn ang="0">
                    <a:pos x="2" y="13"/>
                  </a:cxn>
                  <a:cxn ang="0">
                    <a:pos x="6" y="20"/>
                  </a:cxn>
                  <a:cxn ang="0">
                    <a:pos x="8" y="26"/>
                  </a:cxn>
                  <a:cxn ang="0">
                    <a:pos x="24" y="27"/>
                  </a:cxn>
                  <a:cxn ang="0">
                    <a:pos x="43" y="37"/>
                  </a:cxn>
                  <a:cxn ang="0">
                    <a:pos x="59" y="54"/>
                  </a:cxn>
                  <a:cxn ang="0">
                    <a:pos x="93" y="90"/>
                  </a:cxn>
                  <a:cxn ang="0">
                    <a:pos x="100" y="84"/>
                  </a:cxn>
                  <a:cxn ang="0">
                    <a:pos x="98" y="69"/>
                  </a:cxn>
                  <a:cxn ang="0">
                    <a:pos x="102" y="58"/>
                  </a:cxn>
                  <a:cxn ang="0">
                    <a:pos x="70" y="16"/>
                  </a:cxn>
                  <a:cxn ang="0">
                    <a:pos x="58" y="8"/>
                  </a:cxn>
                  <a:cxn ang="0">
                    <a:pos x="50" y="10"/>
                  </a:cxn>
                  <a:cxn ang="0">
                    <a:pos x="50" y="11"/>
                  </a:cxn>
                  <a:cxn ang="0">
                    <a:pos x="46" y="9"/>
                  </a:cxn>
                  <a:cxn ang="0">
                    <a:pos x="24" y="1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19" y="7"/>
                  </a:cxn>
                  <a:cxn ang="0">
                    <a:pos x="4" y="4"/>
                  </a:cxn>
                  <a:cxn ang="0">
                    <a:pos x="2" y="12"/>
                  </a:cxn>
                </a:cxnLst>
                <a:rect l="0" t="0" r="r" b="b"/>
                <a:pathLst>
                  <a:path w="102" h="91">
                    <a:moveTo>
                      <a:pt x="3" y="10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8"/>
                      <a:pt x="5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6" y="7"/>
                      <a:pt x="7" y="7"/>
                      <a:pt x="8" y="7"/>
                    </a:cubicBezTo>
                    <a:cubicBezTo>
                      <a:pt x="9" y="7"/>
                      <a:pt x="11" y="8"/>
                      <a:pt x="12" y="8"/>
                    </a:cubicBezTo>
                    <a:cubicBezTo>
                      <a:pt x="13" y="9"/>
                      <a:pt x="13" y="9"/>
                      <a:pt x="13" y="9"/>
                    </a:cubicBezTo>
                    <a:cubicBezTo>
                      <a:pt x="15" y="10"/>
                      <a:pt x="17" y="11"/>
                      <a:pt x="19" y="11"/>
                    </a:cubicBezTo>
                    <a:cubicBezTo>
                      <a:pt x="20" y="11"/>
                      <a:pt x="21" y="11"/>
                      <a:pt x="22" y="10"/>
                    </a:cubicBezTo>
                    <a:cubicBezTo>
                      <a:pt x="22" y="10"/>
                      <a:pt x="22" y="10"/>
                      <a:pt x="22" y="10"/>
                    </a:cubicBezTo>
                    <a:cubicBezTo>
                      <a:pt x="24" y="9"/>
                      <a:pt x="25" y="7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5" y="5"/>
                      <a:pt x="25" y="5"/>
                    </a:cubicBezTo>
                    <a:cubicBezTo>
                      <a:pt x="25" y="5"/>
                      <a:pt x="27" y="4"/>
                      <a:pt x="28" y="4"/>
                    </a:cubicBezTo>
                    <a:cubicBezTo>
                      <a:pt x="29" y="4"/>
                      <a:pt x="31" y="4"/>
                      <a:pt x="32" y="5"/>
                    </a:cubicBezTo>
                    <a:cubicBezTo>
                      <a:pt x="34" y="5"/>
                      <a:pt x="35" y="6"/>
                      <a:pt x="36" y="7"/>
                    </a:cubicBezTo>
                    <a:cubicBezTo>
                      <a:pt x="44" y="12"/>
                      <a:pt x="44" y="12"/>
                      <a:pt x="44" y="12"/>
                    </a:cubicBezTo>
                    <a:cubicBezTo>
                      <a:pt x="46" y="14"/>
                      <a:pt x="48" y="15"/>
                      <a:pt x="50" y="15"/>
                    </a:cubicBezTo>
                    <a:cubicBezTo>
                      <a:pt x="51" y="15"/>
                      <a:pt x="52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4"/>
                      <a:pt x="53" y="14"/>
                      <a:pt x="53" y="14"/>
                    </a:cubicBezTo>
                    <a:cubicBezTo>
                      <a:pt x="53" y="13"/>
                      <a:pt x="53" y="13"/>
                      <a:pt x="53" y="13"/>
                    </a:cubicBezTo>
                    <a:cubicBezTo>
                      <a:pt x="54" y="13"/>
                      <a:pt x="56" y="12"/>
                      <a:pt x="58" y="12"/>
                    </a:cubicBezTo>
                    <a:cubicBezTo>
                      <a:pt x="58" y="12"/>
                      <a:pt x="59" y="13"/>
                      <a:pt x="60" y="13"/>
                    </a:cubicBezTo>
                    <a:cubicBezTo>
                      <a:pt x="61" y="13"/>
                      <a:pt x="61" y="14"/>
                      <a:pt x="61" y="14"/>
                    </a:cubicBezTo>
                    <a:cubicBezTo>
                      <a:pt x="62" y="15"/>
                      <a:pt x="63" y="16"/>
                      <a:pt x="64" y="17"/>
                    </a:cubicBezTo>
                    <a:cubicBezTo>
                      <a:pt x="66" y="18"/>
                      <a:pt x="67" y="19"/>
                      <a:pt x="69" y="20"/>
                    </a:cubicBezTo>
                    <a:cubicBezTo>
                      <a:pt x="93" y="33"/>
                      <a:pt x="93" y="33"/>
                      <a:pt x="93" y="33"/>
                    </a:cubicBezTo>
                    <a:cubicBezTo>
                      <a:pt x="94" y="33"/>
                      <a:pt x="95" y="34"/>
                      <a:pt x="95" y="36"/>
                    </a:cubicBezTo>
                    <a:cubicBezTo>
                      <a:pt x="96" y="37"/>
                      <a:pt x="97" y="39"/>
                      <a:pt x="97" y="40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59"/>
                      <a:pt x="98" y="59"/>
                      <a:pt x="98" y="59"/>
                    </a:cubicBezTo>
                    <a:cubicBezTo>
                      <a:pt x="98" y="61"/>
                      <a:pt x="97" y="62"/>
                      <a:pt x="97" y="63"/>
                    </a:cubicBezTo>
                    <a:cubicBezTo>
                      <a:pt x="96" y="65"/>
                      <a:pt x="96" y="65"/>
                      <a:pt x="96" y="65"/>
                    </a:cubicBezTo>
                    <a:cubicBezTo>
                      <a:pt x="94" y="66"/>
                      <a:pt x="94" y="67"/>
                      <a:pt x="93" y="68"/>
                    </a:cubicBezTo>
                    <a:cubicBezTo>
                      <a:pt x="93" y="69"/>
                      <a:pt x="93" y="71"/>
                      <a:pt x="93" y="72"/>
                    </a:cubicBezTo>
                    <a:cubicBezTo>
                      <a:pt x="93" y="73"/>
                      <a:pt x="93" y="75"/>
                      <a:pt x="93" y="76"/>
                    </a:cubicBezTo>
                    <a:cubicBezTo>
                      <a:pt x="95" y="85"/>
                      <a:pt x="95" y="85"/>
                      <a:pt x="95" y="85"/>
                    </a:cubicBezTo>
                    <a:cubicBezTo>
                      <a:pt x="96" y="86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7"/>
                      <a:pt x="96" y="87"/>
                      <a:pt x="96" y="87"/>
                    </a:cubicBezTo>
                    <a:cubicBezTo>
                      <a:pt x="97" y="88"/>
                      <a:pt x="97" y="88"/>
                      <a:pt x="97" y="88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7" y="87"/>
                      <a:pt x="97" y="87"/>
                      <a:pt x="97" y="87"/>
                    </a:cubicBezTo>
                    <a:cubicBezTo>
                      <a:pt x="96" y="86"/>
                      <a:pt x="96" y="86"/>
                      <a:pt x="96" y="86"/>
                    </a:cubicBezTo>
                    <a:cubicBezTo>
                      <a:pt x="68" y="64"/>
                      <a:pt x="68" y="64"/>
                      <a:pt x="68" y="64"/>
                    </a:cubicBezTo>
                    <a:cubicBezTo>
                      <a:pt x="67" y="63"/>
                      <a:pt x="66" y="61"/>
                      <a:pt x="65" y="60"/>
                    </a:cubicBezTo>
                    <a:cubicBezTo>
                      <a:pt x="64" y="58"/>
                      <a:pt x="63" y="56"/>
                      <a:pt x="63" y="55"/>
                    </a:cubicBezTo>
                    <a:cubicBezTo>
                      <a:pt x="63" y="53"/>
                      <a:pt x="63" y="53"/>
                      <a:pt x="63" y="53"/>
                    </a:cubicBezTo>
                    <a:cubicBezTo>
                      <a:pt x="63" y="51"/>
                      <a:pt x="62" y="49"/>
                      <a:pt x="61" y="47"/>
                    </a:cubicBezTo>
                    <a:cubicBezTo>
                      <a:pt x="60" y="45"/>
                      <a:pt x="58" y="43"/>
                      <a:pt x="57" y="42"/>
                    </a:cubicBezTo>
                    <a:cubicBezTo>
                      <a:pt x="54" y="40"/>
                      <a:pt x="54" y="40"/>
                      <a:pt x="54" y="40"/>
                    </a:cubicBezTo>
                    <a:cubicBezTo>
                      <a:pt x="52" y="38"/>
                      <a:pt x="48" y="35"/>
                      <a:pt x="45" y="34"/>
                    </a:cubicBezTo>
                    <a:cubicBezTo>
                      <a:pt x="35" y="26"/>
                      <a:pt x="35" y="26"/>
                      <a:pt x="35" y="26"/>
                    </a:cubicBezTo>
                    <a:cubicBezTo>
                      <a:pt x="33" y="25"/>
                      <a:pt x="32" y="24"/>
                      <a:pt x="30" y="23"/>
                    </a:cubicBezTo>
                    <a:cubicBezTo>
                      <a:pt x="28" y="23"/>
                      <a:pt x="26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24" y="22"/>
                      <a:pt x="24" y="22"/>
                      <a:pt x="24" y="22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2" y="23"/>
                      <a:pt x="12" y="23"/>
                      <a:pt x="12" y="23"/>
                    </a:cubicBezTo>
                    <a:cubicBezTo>
                      <a:pt x="11" y="23"/>
                      <a:pt x="11" y="23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0" y="22"/>
                      <a:pt x="10" y="22"/>
                      <a:pt x="10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2"/>
                      <a:pt x="11" y="22"/>
                      <a:pt x="11" y="22"/>
                    </a:cubicBezTo>
                    <a:cubicBezTo>
                      <a:pt x="11" y="21"/>
                      <a:pt x="11" y="21"/>
                      <a:pt x="11" y="21"/>
                    </a:cubicBezTo>
                    <a:cubicBezTo>
                      <a:pt x="11" y="20"/>
                      <a:pt x="10" y="18"/>
                      <a:pt x="9" y="17"/>
                    </a:cubicBezTo>
                    <a:cubicBezTo>
                      <a:pt x="9" y="16"/>
                      <a:pt x="7" y="16"/>
                      <a:pt x="6" y="16"/>
                    </a:cubicBezTo>
                    <a:cubicBezTo>
                      <a:pt x="6" y="15"/>
                      <a:pt x="5" y="15"/>
                      <a:pt x="5" y="15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4" y="16"/>
                      <a:pt x="4" y="16"/>
                      <a:pt x="4" y="16"/>
                    </a:cubicBezTo>
                    <a:cubicBezTo>
                      <a:pt x="5" y="16"/>
                      <a:pt x="5" y="16"/>
                      <a:pt x="5" y="16"/>
                    </a:cubicBezTo>
                    <a:cubicBezTo>
                      <a:pt x="6" y="15"/>
                      <a:pt x="6" y="14"/>
                      <a:pt x="6" y="13"/>
                    </a:cubicBezTo>
                    <a:cubicBezTo>
                      <a:pt x="6" y="11"/>
                      <a:pt x="6" y="10"/>
                      <a:pt x="5" y="9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12"/>
                      <a:pt x="2" y="12"/>
                      <a:pt x="2" y="12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2" y="13"/>
                      <a:pt x="2" y="13"/>
                      <a:pt x="2" y="13"/>
                    </a:cubicBezTo>
                    <a:cubicBezTo>
                      <a:pt x="1" y="14"/>
                      <a:pt x="1" y="15"/>
                      <a:pt x="1" y="16"/>
                    </a:cubicBezTo>
                    <a:cubicBezTo>
                      <a:pt x="1" y="17"/>
                      <a:pt x="2" y="18"/>
                      <a:pt x="2" y="18"/>
                    </a:cubicBezTo>
                    <a:cubicBezTo>
                      <a:pt x="3" y="19"/>
                      <a:pt x="4" y="19"/>
                      <a:pt x="5" y="20"/>
                    </a:cubicBezTo>
                    <a:cubicBezTo>
                      <a:pt x="6" y="20"/>
                      <a:pt x="6" y="20"/>
                      <a:pt x="6" y="20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7" y="21"/>
                      <a:pt x="7" y="21"/>
                      <a:pt x="7" y="21"/>
                    </a:cubicBezTo>
                    <a:cubicBezTo>
                      <a:pt x="6" y="22"/>
                      <a:pt x="6" y="22"/>
                      <a:pt x="6" y="22"/>
                    </a:cubicBezTo>
                    <a:cubicBezTo>
                      <a:pt x="6" y="24"/>
                      <a:pt x="7" y="25"/>
                      <a:pt x="8" y="26"/>
                    </a:cubicBezTo>
                    <a:cubicBezTo>
                      <a:pt x="10" y="27"/>
                      <a:pt x="11" y="27"/>
                      <a:pt x="12" y="27"/>
                    </a:cubicBezTo>
                    <a:cubicBezTo>
                      <a:pt x="13" y="27"/>
                      <a:pt x="13" y="27"/>
                      <a:pt x="13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4" y="27"/>
                      <a:pt x="24" y="27"/>
                      <a:pt x="24" y="27"/>
                    </a:cubicBezTo>
                    <a:cubicBezTo>
                      <a:pt x="25" y="27"/>
                      <a:pt x="27" y="27"/>
                      <a:pt x="28" y="28"/>
                    </a:cubicBezTo>
                    <a:cubicBezTo>
                      <a:pt x="30" y="28"/>
                      <a:pt x="31" y="29"/>
                      <a:pt x="32" y="29"/>
                    </a:cubicBezTo>
                    <a:cubicBezTo>
                      <a:pt x="43" y="37"/>
                      <a:pt x="43" y="37"/>
                      <a:pt x="43" y="37"/>
                    </a:cubicBezTo>
                    <a:cubicBezTo>
                      <a:pt x="45" y="39"/>
                      <a:pt x="49" y="42"/>
                      <a:pt x="52" y="44"/>
                    </a:cubicBezTo>
                    <a:cubicBezTo>
                      <a:pt x="54" y="45"/>
                      <a:pt x="54" y="45"/>
                      <a:pt x="54" y="45"/>
                    </a:cubicBezTo>
                    <a:cubicBezTo>
                      <a:pt x="55" y="46"/>
                      <a:pt x="56" y="47"/>
                      <a:pt x="57" y="49"/>
                    </a:cubicBezTo>
                    <a:cubicBezTo>
                      <a:pt x="58" y="51"/>
                      <a:pt x="58" y="52"/>
                      <a:pt x="59" y="54"/>
                    </a:cubicBezTo>
                    <a:cubicBezTo>
                      <a:pt x="59" y="55"/>
                      <a:pt x="59" y="55"/>
                      <a:pt x="59" y="55"/>
                    </a:cubicBezTo>
                    <a:cubicBezTo>
                      <a:pt x="59" y="58"/>
                      <a:pt x="60" y="60"/>
                      <a:pt x="61" y="62"/>
                    </a:cubicBezTo>
                    <a:cubicBezTo>
                      <a:pt x="62" y="64"/>
                      <a:pt x="64" y="66"/>
                      <a:pt x="65" y="67"/>
                    </a:cubicBezTo>
                    <a:cubicBezTo>
                      <a:pt x="93" y="90"/>
                      <a:pt x="93" y="90"/>
                      <a:pt x="93" y="90"/>
                    </a:cubicBezTo>
                    <a:cubicBezTo>
                      <a:pt x="94" y="90"/>
                      <a:pt x="95" y="91"/>
                      <a:pt x="97" y="91"/>
                    </a:cubicBezTo>
                    <a:cubicBezTo>
                      <a:pt x="98" y="91"/>
                      <a:pt x="99" y="90"/>
                      <a:pt x="99" y="89"/>
                    </a:cubicBezTo>
                    <a:cubicBezTo>
                      <a:pt x="100" y="89"/>
                      <a:pt x="100" y="88"/>
                      <a:pt x="100" y="87"/>
                    </a:cubicBezTo>
                    <a:cubicBezTo>
                      <a:pt x="100" y="86"/>
                      <a:pt x="100" y="85"/>
                      <a:pt x="100" y="84"/>
                    </a:cubicBezTo>
                    <a:cubicBezTo>
                      <a:pt x="97" y="75"/>
                      <a:pt x="97" y="75"/>
                      <a:pt x="97" y="75"/>
                    </a:cubicBezTo>
                    <a:cubicBezTo>
                      <a:pt x="97" y="74"/>
                      <a:pt x="97" y="73"/>
                      <a:pt x="97" y="72"/>
                    </a:cubicBezTo>
                    <a:cubicBezTo>
                      <a:pt x="97" y="71"/>
                      <a:pt x="97" y="70"/>
                      <a:pt x="97" y="70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8" y="69"/>
                      <a:pt x="98" y="69"/>
                      <a:pt x="98" y="69"/>
                    </a:cubicBezTo>
                    <a:cubicBezTo>
                      <a:pt x="99" y="68"/>
                      <a:pt x="100" y="66"/>
                      <a:pt x="101" y="65"/>
                    </a:cubicBezTo>
                    <a:cubicBezTo>
                      <a:pt x="101" y="63"/>
                      <a:pt x="102" y="61"/>
                      <a:pt x="102" y="59"/>
                    </a:cubicBezTo>
                    <a:cubicBezTo>
                      <a:pt x="102" y="58"/>
                      <a:pt x="102" y="58"/>
                      <a:pt x="102" y="58"/>
                    </a:cubicBezTo>
                    <a:cubicBezTo>
                      <a:pt x="101" y="40"/>
                      <a:pt x="101" y="40"/>
                      <a:pt x="101" y="40"/>
                    </a:cubicBezTo>
                    <a:cubicBezTo>
                      <a:pt x="101" y="38"/>
                      <a:pt x="100" y="35"/>
                      <a:pt x="99" y="34"/>
                    </a:cubicBezTo>
                    <a:cubicBezTo>
                      <a:pt x="98" y="32"/>
                      <a:pt x="97" y="30"/>
                      <a:pt x="95" y="29"/>
                    </a:cubicBezTo>
                    <a:cubicBezTo>
                      <a:pt x="70" y="16"/>
                      <a:pt x="70" y="16"/>
                      <a:pt x="70" y="16"/>
                    </a:cubicBezTo>
                    <a:cubicBezTo>
                      <a:pt x="69" y="16"/>
                      <a:pt x="68" y="15"/>
                      <a:pt x="67" y="14"/>
                    </a:cubicBezTo>
                    <a:cubicBezTo>
                      <a:pt x="66" y="13"/>
                      <a:pt x="65" y="12"/>
                      <a:pt x="65" y="12"/>
                    </a:cubicBezTo>
                    <a:cubicBezTo>
                      <a:pt x="65" y="10"/>
                      <a:pt x="63" y="10"/>
                      <a:pt x="62" y="9"/>
                    </a:cubicBezTo>
                    <a:cubicBezTo>
                      <a:pt x="61" y="8"/>
                      <a:pt x="59" y="8"/>
                      <a:pt x="58" y="8"/>
                    </a:cubicBezTo>
                    <a:cubicBezTo>
                      <a:pt x="56" y="8"/>
                      <a:pt x="55" y="8"/>
                      <a:pt x="53" y="9"/>
                    </a:cubicBezTo>
                    <a:cubicBezTo>
                      <a:pt x="52" y="9"/>
                      <a:pt x="51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1"/>
                      <a:pt x="50" y="11"/>
                      <a:pt x="50" y="11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50" y="10"/>
                      <a:pt x="50" y="10"/>
                      <a:pt x="50" y="10"/>
                    </a:cubicBezTo>
                    <a:cubicBezTo>
                      <a:pt x="49" y="10"/>
                      <a:pt x="48" y="10"/>
                      <a:pt x="46" y="9"/>
                    </a:cubicBezTo>
                    <a:cubicBezTo>
                      <a:pt x="39" y="3"/>
                      <a:pt x="39" y="3"/>
                      <a:pt x="39" y="3"/>
                    </a:cubicBezTo>
                    <a:cubicBezTo>
                      <a:pt x="37" y="2"/>
                      <a:pt x="36" y="2"/>
                      <a:pt x="34" y="1"/>
                    </a:cubicBezTo>
                    <a:cubicBezTo>
                      <a:pt x="32" y="0"/>
                      <a:pt x="30" y="0"/>
                      <a:pt x="28" y="0"/>
                    </a:cubicBezTo>
                    <a:cubicBezTo>
                      <a:pt x="27" y="0"/>
                      <a:pt x="25" y="0"/>
                      <a:pt x="24" y="1"/>
                    </a:cubicBezTo>
                    <a:cubicBezTo>
                      <a:pt x="23" y="1"/>
                      <a:pt x="23" y="1"/>
                      <a:pt x="22" y="2"/>
                    </a:cubicBezTo>
                    <a:cubicBezTo>
                      <a:pt x="22" y="2"/>
                      <a:pt x="21" y="3"/>
                      <a:pt x="21" y="4"/>
                    </a:cubicBezTo>
                    <a:cubicBezTo>
                      <a:pt x="21" y="5"/>
                      <a:pt x="20" y="6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9" y="7"/>
                      <a:pt x="19" y="7"/>
                    </a:cubicBezTo>
                    <a:cubicBezTo>
                      <a:pt x="19" y="7"/>
                      <a:pt x="17" y="6"/>
                      <a:pt x="16" y="6"/>
                    </a:cubicBezTo>
                    <a:cubicBezTo>
                      <a:pt x="15" y="5"/>
                      <a:pt x="15" y="5"/>
                      <a:pt x="15" y="5"/>
                    </a:cubicBezTo>
                    <a:cubicBezTo>
                      <a:pt x="13" y="4"/>
                      <a:pt x="10" y="3"/>
                      <a:pt x="8" y="3"/>
                    </a:cubicBezTo>
                    <a:cubicBezTo>
                      <a:pt x="7" y="3"/>
                      <a:pt x="5" y="3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2" y="5"/>
                      <a:pt x="1" y="7"/>
                      <a:pt x="0" y="9"/>
                    </a:cubicBezTo>
                    <a:cubicBezTo>
                      <a:pt x="0" y="10"/>
                      <a:pt x="1" y="11"/>
                      <a:pt x="2" y="12"/>
                    </a:cubicBezTo>
                    <a:lnTo>
                      <a:pt x="3" y="10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8" name="Freeform 283"/>
              <p:cNvSpPr>
                <a:spLocks/>
              </p:cNvSpPr>
              <p:nvPr/>
            </p:nvSpPr>
            <p:spPr bwMode="auto">
              <a:xfrm>
                <a:off x="-3748087" y="2501897"/>
                <a:ext cx="2044700" cy="2208211"/>
              </a:xfrm>
              <a:custGeom>
                <a:avLst/>
                <a:gdLst/>
                <a:ahLst/>
                <a:cxnLst>
                  <a:cxn ang="0">
                    <a:pos x="149" y="233"/>
                  </a:cxn>
                  <a:cxn ang="0">
                    <a:pos x="200" y="200"/>
                  </a:cxn>
                  <a:cxn ang="0">
                    <a:pos x="136" y="153"/>
                  </a:cxn>
                  <a:cxn ang="0">
                    <a:pos x="118" y="159"/>
                  </a:cxn>
                  <a:cxn ang="0">
                    <a:pos x="91" y="153"/>
                  </a:cxn>
                  <a:cxn ang="0">
                    <a:pos x="125" y="110"/>
                  </a:cxn>
                  <a:cxn ang="0">
                    <a:pos x="135" y="95"/>
                  </a:cxn>
                  <a:cxn ang="0">
                    <a:pos x="144" y="108"/>
                  </a:cxn>
                  <a:cxn ang="0">
                    <a:pos x="176" y="71"/>
                  </a:cxn>
                  <a:cxn ang="0">
                    <a:pos x="146" y="91"/>
                  </a:cxn>
                  <a:cxn ang="0">
                    <a:pos x="186" y="35"/>
                  </a:cxn>
                  <a:cxn ang="0">
                    <a:pos x="206" y="57"/>
                  </a:cxn>
                  <a:cxn ang="0">
                    <a:pos x="376" y="30"/>
                  </a:cxn>
                  <a:cxn ang="0">
                    <a:pos x="540" y="125"/>
                  </a:cxn>
                  <a:cxn ang="0">
                    <a:pos x="499" y="130"/>
                  </a:cxn>
                  <a:cxn ang="0">
                    <a:pos x="471" y="177"/>
                  </a:cxn>
                  <a:cxn ang="0">
                    <a:pos x="513" y="269"/>
                  </a:cxn>
                  <a:cxn ang="0">
                    <a:pos x="475" y="332"/>
                  </a:cxn>
                  <a:cxn ang="0">
                    <a:pos x="488" y="385"/>
                  </a:cxn>
                  <a:cxn ang="0">
                    <a:pos x="462" y="329"/>
                  </a:cxn>
                  <a:cxn ang="0">
                    <a:pos x="380" y="349"/>
                  </a:cxn>
                  <a:cxn ang="0">
                    <a:pos x="380" y="350"/>
                  </a:cxn>
                  <a:cxn ang="0">
                    <a:pos x="260" y="232"/>
                  </a:cxn>
                  <a:cxn ang="0">
                    <a:pos x="295" y="281"/>
                  </a:cxn>
                  <a:cxn ang="0">
                    <a:pos x="236" y="336"/>
                  </a:cxn>
                  <a:cxn ang="0">
                    <a:pos x="223" y="451"/>
                  </a:cxn>
                  <a:cxn ang="0">
                    <a:pos x="142" y="582"/>
                  </a:cxn>
                  <a:cxn ang="0">
                    <a:pos x="71" y="361"/>
                  </a:cxn>
                  <a:cxn ang="0">
                    <a:pos x="73" y="364"/>
                  </a:cxn>
                  <a:cxn ang="0">
                    <a:pos x="142" y="587"/>
                  </a:cxn>
                  <a:cxn ang="0">
                    <a:pos x="226" y="449"/>
                  </a:cxn>
                  <a:cxn ang="0">
                    <a:pos x="239" y="332"/>
                  </a:cxn>
                  <a:cxn ang="0">
                    <a:pos x="206" y="251"/>
                  </a:cxn>
                  <a:cxn ang="0">
                    <a:pos x="301" y="278"/>
                  </a:cxn>
                  <a:cxn ang="0">
                    <a:pos x="298" y="266"/>
                  </a:cxn>
                  <a:cxn ang="0">
                    <a:pos x="376" y="350"/>
                  </a:cxn>
                  <a:cxn ang="0">
                    <a:pos x="459" y="336"/>
                  </a:cxn>
                  <a:cxn ang="0">
                    <a:pos x="473" y="335"/>
                  </a:cxn>
                  <a:cxn ang="0">
                    <a:pos x="473" y="336"/>
                  </a:cxn>
                  <a:cxn ang="0">
                    <a:pos x="516" y="242"/>
                  </a:cxn>
                  <a:cxn ang="0">
                    <a:pos x="475" y="179"/>
                  </a:cxn>
                  <a:cxn ang="0">
                    <a:pos x="501" y="123"/>
                  </a:cxn>
                  <a:cxn ang="0">
                    <a:pos x="542" y="118"/>
                  </a:cxn>
                  <a:cxn ang="0">
                    <a:pos x="299" y="0"/>
                  </a:cxn>
                  <a:cxn ang="0">
                    <a:pos x="199" y="48"/>
                  </a:cxn>
                  <a:cxn ang="0">
                    <a:pos x="197" y="48"/>
                  </a:cxn>
                  <a:cxn ang="0">
                    <a:pos x="206" y="38"/>
                  </a:cxn>
                  <a:cxn ang="0">
                    <a:pos x="138" y="85"/>
                  </a:cxn>
                  <a:cxn ang="0">
                    <a:pos x="171" y="57"/>
                  </a:cxn>
                  <a:cxn ang="0">
                    <a:pos x="175" y="75"/>
                  </a:cxn>
                  <a:cxn ang="0">
                    <a:pos x="182" y="74"/>
                  </a:cxn>
                  <a:cxn ang="0">
                    <a:pos x="145" y="106"/>
                  </a:cxn>
                  <a:cxn ang="0">
                    <a:pos x="125" y="106"/>
                  </a:cxn>
                  <a:cxn ang="0">
                    <a:pos x="68" y="160"/>
                  </a:cxn>
                  <a:cxn ang="0">
                    <a:pos x="134" y="185"/>
                  </a:cxn>
                  <a:cxn ang="0">
                    <a:pos x="139" y="157"/>
                  </a:cxn>
                  <a:cxn ang="0">
                    <a:pos x="171" y="181"/>
                  </a:cxn>
                  <a:cxn ang="0">
                    <a:pos x="173" y="187"/>
                  </a:cxn>
                  <a:cxn ang="0">
                    <a:pos x="195" y="229"/>
                  </a:cxn>
                  <a:cxn ang="0">
                    <a:pos x="122" y="196"/>
                  </a:cxn>
                </a:cxnLst>
                <a:rect l="0" t="0" r="r" b="b"/>
                <a:pathLst>
                  <a:path w="544" h="587">
                    <a:moveTo>
                      <a:pt x="3" y="312"/>
                    </a:moveTo>
                    <a:cubicBezTo>
                      <a:pt x="5" y="311"/>
                      <a:pt x="5" y="311"/>
                      <a:pt x="5" y="311"/>
                    </a:cubicBezTo>
                    <a:cubicBezTo>
                      <a:pt x="5" y="310"/>
                      <a:pt x="4" y="309"/>
                      <a:pt x="4" y="308"/>
                    </a:cubicBezTo>
                    <a:cubicBezTo>
                      <a:pt x="4" y="306"/>
                      <a:pt x="5" y="302"/>
                      <a:pt x="6" y="301"/>
                    </a:cubicBezTo>
                    <a:cubicBezTo>
                      <a:pt x="46" y="220"/>
                      <a:pt x="46" y="220"/>
                      <a:pt x="46" y="220"/>
                    </a:cubicBezTo>
                    <a:cubicBezTo>
                      <a:pt x="47" y="219"/>
                      <a:pt x="48" y="218"/>
                      <a:pt x="49" y="217"/>
                    </a:cubicBezTo>
                    <a:cubicBezTo>
                      <a:pt x="50" y="215"/>
                      <a:pt x="52" y="215"/>
                      <a:pt x="53" y="214"/>
                    </a:cubicBezTo>
                    <a:cubicBezTo>
                      <a:pt x="117" y="198"/>
                      <a:pt x="117" y="198"/>
                      <a:pt x="117" y="198"/>
                    </a:cubicBezTo>
                    <a:cubicBezTo>
                      <a:pt x="118" y="198"/>
                      <a:pt x="118" y="198"/>
                      <a:pt x="118" y="198"/>
                    </a:cubicBezTo>
                    <a:cubicBezTo>
                      <a:pt x="118" y="198"/>
                      <a:pt x="118" y="198"/>
                      <a:pt x="119" y="199"/>
                    </a:cubicBezTo>
                    <a:cubicBezTo>
                      <a:pt x="119" y="199"/>
                      <a:pt x="120" y="200"/>
                      <a:pt x="120" y="201"/>
                    </a:cubicBezTo>
                    <a:cubicBezTo>
                      <a:pt x="120" y="212"/>
                      <a:pt x="120" y="212"/>
                      <a:pt x="120" y="212"/>
                    </a:cubicBezTo>
                    <a:cubicBezTo>
                      <a:pt x="120" y="214"/>
                      <a:pt x="121" y="216"/>
                      <a:pt x="122" y="218"/>
                    </a:cubicBezTo>
                    <a:cubicBezTo>
                      <a:pt x="123" y="220"/>
                      <a:pt x="125" y="222"/>
                      <a:pt x="127" y="223"/>
                    </a:cubicBezTo>
                    <a:cubicBezTo>
                      <a:pt x="145" y="232"/>
                      <a:pt x="145" y="232"/>
                      <a:pt x="145" y="232"/>
                    </a:cubicBezTo>
                    <a:cubicBezTo>
                      <a:pt x="146" y="233"/>
                      <a:pt x="148" y="233"/>
                      <a:pt x="149" y="233"/>
                    </a:cubicBezTo>
                    <a:cubicBezTo>
                      <a:pt x="152" y="233"/>
                      <a:pt x="154" y="232"/>
                      <a:pt x="156" y="231"/>
                    </a:cubicBezTo>
                    <a:cubicBezTo>
                      <a:pt x="159" y="228"/>
                      <a:pt x="159" y="228"/>
                      <a:pt x="159" y="228"/>
                    </a:cubicBezTo>
                    <a:cubicBezTo>
                      <a:pt x="160" y="228"/>
                      <a:pt x="162" y="227"/>
                      <a:pt x="163" y="227"/>
                    </a:cubicBezTo>
                    <a:cubicBezTo>
                      <a:pt x="164" y="227"/>
                      <a:pt x="165" y="228"/>
                      <a:pt x="166" y="228"/>
                    </a:cubicBezTo>
                    <a:cubicBezTo>
                      <a:pt x="172" y="233"/>
                      <a:pt x="172" y="233"/>
                      <a:pt x="172" y="233"/>
                    </a:cubicBezTo>
                    <a:cubicBezTo>
                      <a:pt x="174" y="234"/>
                      <a:pt x="177" y="235"/>
                      <a:pt x="179" y="235"/>
                    </a:cubicBezTo>
                    <a:cubicBezTo>
                      <a:pt x="181" y="235"/>
                      <a:pt x="182" y="234"/>
                      <a:pt x="184" y="233"/>
                    </a:cubicBezTo>
                    <a:cubicBezTo>
                      <a:pt x="185" y="232"/>
                      <a:pt x="185" y="232"/>
                      <a:pt x="185" y="232"/>
                    </a:cubicBezTo>
                    <a:cubicBezTo>
                      <a:pt x="186" y="232"/>
                      <a:pt x="187" y="232"/>
                      <a:pt x="188" y="232"/>
                    </a:cubicBezTo>
                    <a:cubicBezTo>
                      <a:pt x="190" y="232"/>
                      <a:pt x="191" y="232"/>
                      <a:pt x="192" y="233"/>
                    </a:cubicBezTo>
                    <a:cubicBezTo>
                      <a:pt x="194" y="234"/>
                      <a:pt x="194" y="234"/>
                      <a:pt x="194" y="234"/>
                    </a:cubicBezTo>
                    <a:cubicBezTo>
                      <a:pt x="195" y="235"/>
                      <a:pt x="196" y="235"/>
                      <a:pt x="197" y="235"/>
                    </a:cubicBezTo>
                    <a:cubicBezTo>
                      <a:pt x="199" y="235"/>
                      <a:pt x="200" y="234"/>
                      <a:pt x="201" y="233"/>
                    </a:cubicBezTo>
                    <a:cubicBezTo>
                      <a:pt x="202" y="232"/>
                      <a:pt x="202" y="231"/>
                      <a:pt x="202" y="229"/>
                    </a:cubicBezTo>
                    <a:cubicBezTo>
                      <a:pt x="202" y="206"/>
                      <a:pt x="202" y="206"/>
                      <a:pt x="202" y="206"/>
                    </a:cubicBezTo>
                    <a:cubicBezTo>
                      <a:pt x="202" y="204"/>
                      <a:pt x="201" y="202"/>
                      <a:pt x="200" y="200"/>
                    </a:cubicBezTo>
                    <a:cubicBezTo>
                      <a:pt x="199" y="198"/>
                      <a:pt x="197" y="197"/>
                      <a:pt x="195" y="196"/>
                    </a:cubicBezTo>
                    <a:cubicBezTo>
                      <a:pt x="183" y="192"/>
                      <a:pt x="183" y="192"/>
                      <a:pt x="183" y="192"/>
                    </a:cubicBezTo>
                    <a:cubicBezTo>
                      <a:pt x="182" y="192"/>
                      <a:pt x="181" y="191"/>
                      <a:pt x="180" y="190"/>
                    </a:cubicBezTo>
                    <a:cubicBezTo>
                      <a:pt x="179" y="189"/>
                      <a:pt x="178" y="188"/>
                      <a:pt x="177" y="186"/>
                    </a:cubicBezTo>
                    <a:cubicBezTo>
                      <a:pt x="176" y="181"/>
                      <a:pt x="176" y="181"/>
                      <a:pt x="176" y="181"/>
                    </a:cubicBezTo>
                    <a:cubicBezTo>
                      <a:pt x="176" y="180"/>
                      <a:pt x="175" y="179"/>
                      <a:pt x="174" y="178"/>
                    </a:cubicBezTo>
                    <a:cubicBezTo>
                      <a:pt x="174" y="178"/>
                      <a:pt x="173" y="177"/>
                      <a:pt x="171" y="177"/>
                    </a:cubicBezTo>
                    <a:cubicBezTo>
                      <a:pt x="170" y="177"/>
                      <a:pt x="170" y="177"/>
                      <a:pt x="169" y="178"/>
                    </a:cubicBezTo>
                    <a:cubicBezTo>
                      <a:pt x="168" y="178"/>
                      <a:pt x="168" y="179"/>
                      <a:pt x="167" y="180"/>
                    </a:cubicBezTo>
                    <a:cubicBezTo>
                      <a:pt x="164" y="185"/>
                      <a:pt x="164" y="185"/>
                      <a:pt x="164" y="185"/>
                    </a:cubicBezTo>
                    <a:cubicBezTo>
                      <a:pt x="163" y="186"/>
                      <a:pt x="163" y="186"/>
                      <a:pt x="163" y="186"/>
                    </a:cubicBezTo>
                    <a:cubicBezTo>
                      <a:pt x="162" y="186"/>
                      <a:pt x="162" y="186"/>
                      <a:pt x="161" y="185"/>
                    </a:cubicBezTo>
                    <a:cubicBezTo>
                      <a:pt x="143" y="156"/>
                      <a:pt x="143" y="156"/>
                      <a:pt x="143" y="156"/>
                    </a:cubicBezTo>
                    <a:cubicBezTo>
                      <a:pt x="143" y="155"/>
                      <a:pt x="142" y="154"/>
                      <a:pt x="141" y="154"/>
                    </a:cubicBezTo>
                    <a:cubicBezTo>
                      <a:pt x="141" y="153"/>
                      <a:pt x="140" y="153"/>
                      <a:pt x="138" y="153"/>
                    </a:cubicBezTo>
                    <a:cubicBezTo>
                      <a:pt x="138" y="153"/>
                      <a:pt x="137" y="153"/>
                      <a:pt x="136" y="153"/>
                    </a:cubicBezTo>
                    <a:cubicBezTo>
                      <a:pt x="135" y="154"/>
                      <a:pt x="135" y="154"/>
                      <a:pt x="135" y="155"/>
                    </a:cubicBezTo>
                    <a:cubicBezTo>
                      <a:pt x="134" y="156"/>
                      <a:pt x="134" y="157"/>
                      <a:pt x="134" y="159"/>
                    </a:cubicBezTo>
                    <a:cubicBezTo>
                      <a:pt x="134" y="161"/>
                      <a:pt x="135" y="164"/>
                      <a:pt x="136" y="166"/>
                    </a:cubicBezTo>
                    <a:cubicBezTo>
                      <a:pt x="141" y="175"/>
                      <a:pt x="141" y="175"/>
                      <a:pt x="141" y="175"/>
                    </a:cubicBezTo>
                    <a:cubicBezTo>
                      <a:pt x="141" y="176"/>
                      <a:pt x="142" y="177"/>
                      <a:pt x="142" y="179"/>
                    </a:cubicBezTo>
                    <a:cubicBezTo>
                      <a:pt x="142" y="180"/>
                      <a:pt x="141" y="182"/>
                      <a:pt x="141" y="183"/>
                    </a:cubicBezTo>
                    <a:cubicBezTo>
                      <a:pt x="141" y="183"/>
                      <a:pt x="141" y="183"/>
                      <a:pt x="141" y="183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40" y="184"/>
                      <a:pt x="140" y="184"/>
                      <a:pt x="140" y="184"/>
                    </a:cubicBezTo>
                    <a:cubicBezTo>
                      <a:pt x="139" y="185"/>
                      <a:pt x="139" y="185"/>
                      <a:pt x="139" y="185"/>
                    </a:cubicBezTo>
                    <a:cubicBezTo>
                      <a:pt x="139" y="184"/>
                      <a:pt x="139" y="184"/>
                      <a:pt x="139" y="184"/>
                    </a:cubicBezTo>
                    <a:cubicBezTo>
                      <a:pt x="138" y="184"/>
                      <a:pt x="138" y="184"/>
                      <a:pt x="138" y="183"/>
                    </a:cubicBezTo>
                    <a:cubicBezTo>
                      <a:pt x="129" y="163"/>
                      <a:pt x="129" y="163"/>
                      <a:pt x="129" y="163"/>
                    </a:cubicBezTo>
                    <a:cubicBezTo>
                      <a:pt x="127" y="160"/>
                      <a:pt x="124" y="158"/>
                      <a:pt x="121" y="158"/>
                    </a:cubicBezTo>
                    <a:cubicBezTo>
                      <a:pt x="120" y="158"/>
                      <a:pt x="119" y="158"/>
                      <a:pt x="118" y="159"/>
                    </a:cubicBezTo>
                    <a:cubicBezTo>
                      <a:pt x="105" y="165"/>
                      <a:pt x="105" y="165"/>
                      <a:pt x="105" y="165"/>
                    </a:cubicBezTo>
                    <a:cubicBezTo>
                      <a:pt x="102" y="167"/>
                      <a:pt x="98" y="170"/>
                      <a:pt x="96" y="173"/>
                    </a:cubicBezTo>
                    <a:cubicBezTo>
                      <a:pt x="86" y="187"/>
                      <a:pt x="86" y="187"/>
                      <a:pt x="86" y="187"/>
                    </a:cubicBezTo>
                    <a:cubicBezTo>
                      <a:pt x="85" y="188"/>
                      <a:pt x="84" y="189"/>
                      <a:pt x="83" y="190"/>
                    </a:cubicBezTo>
                    <a:cubicBezTo>
                      <a:pt x="81" y="191"/>
                      <a:pt x="80" y="191"/>
                      <a:pt x="79" y="191"/>
                    </a:cubicBezTo>
                    <a:cubicBezTo>
                      <a:pt x="62" y="192"/>
                      <a:pt x="62" y="192"/>
                      <a:pt x="62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1" y="192"/>
                      <a:pt x="61" y="192"/>
                      <a:pt x="61" y="192"/>
                    </a:cubicBezTo>
                    <a:cubicBezTo>
                      <a:pt x="60" y="192"/>
                      <a:pt x="60" y="191"/>
                      <a:pt x="60" y="190"/>
                    </a:cubicBezTo>
                    <a:cubicBezTo>
                      <a:pt x="60" y="189"/>
                      <a:pt x="60" y="189"/>
                      <a:pt x="60" y="189"/>
                    </a:cubicBezTo>
                    <a:cubicBezTo>
                      <a:pt x="64" y="170"/>
                      <a:pt x="64" y="170"/>
                      <a:pt x="64" y="170"/>
                    </a:cubicBezTo>
                    <a:cubicBezTo>
                      <a:pt x="65" y="169"/>
                      <a:pt x="66" y="167"/>
                      <a:pt x="67" y="166"/>
                    </a:cubicBezTo>
                    <a:cubicBezTo>
                      <a:pt x="67" y="165"/>
                      <a:pt x="69" y="164"/>
                      <a:pt x="69" y="164"/>
                    </a:cubicBezTo>
                    <a:cubicBezTo>
                      <a:pt x="82" y="162"/>
                      <a:pt x="82" y="162"/>
                      <a:pt x="82" y="162"/>
                    </a:cubicBezTo>
                    <a:cubicBezTo>
                      <a:pt x="84" y="161"/>
                      <a:pt x="86" y="160"/>
                      <a:pt x="87" y="158"/>
                    </a:cubicBezTo>
                    <a:cubicBezTo>
                      <a:pt x="89" y="157"/>
                      <a:pt x="90" y="155"/>
                      <a:pt x="91" y="153"/>
                    </a:cubicBezTo>
                    <a:cubicBezTo>
                      <a:pt x="91" y="151"/>
                      <a:pt x="91" y="151"/>
                      <a:pt x="91" y="151"/>
                    </a:cubicBezTo>
                    <a:cubicBezTo>
                      <a:pt x="92" y="150"/>
                      <a:pt x="92" y="148"/>
                      <a:pt x="92" y="147"/>
                    </a:cubicBezTo>
                    <a:cubicBezTo>
                      <a:pt x="92" y="144"/>
                      <a:pt x="91" y="141"/>
                      <a:pt x="90" y="139"/>
                    </a:cubicBezTo>
                    <a:cubicBezTo>
                      <a:pt x="89" y="138"/>
                      <a:pt x="89" y="138"/>
                      <a:pt x="89" y="138"/>
                    </a:cubicBezTo>
                    <a:cubicBezTo>
                      <a:pt x="89" y="138"/>
                      <a:pt x="90" y="137"/>
                      <a:pt x="91" y="136"/>
                    </a:cubicBezTo>
                    <a:cubicBezTo>
                      <a:pt x="109" y="126"/>
                      <a:pt x="109" y="126"/>
                      <a:pt x="109" y="126"/>
                    </a:cubicBezTo>
                    <a:cubicBezTo>
                      <a:pt x="112" y="124"/>
                      <a:pt x="116" y="121"/>
                      <a:pt x="118" y="118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21" y="113"/>
                      <a:pt x="122" y="112"/>
                      <a:pt x="123" y="111"/>
                    </a:cubicBezTo>
                    <a:cubicBezTo>
                      <a:pt x="124" y="111"/>
                      <a:pt x="124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5" y="110"/>
                      <a:pt x="125" y="110"/>
                      <a:pt x="125" y="110"/>
                    </a:cubicBezTo>
                    <a:cubicBezTo>
                      <a:pt x="126" y="110"/>
                      <a:pt x="127" y="110"/>
                      <a:pt x="128" y="109"/>
                    </a:cubicBezTo>
                    <a:cubicBezTo>
                      <a:pt x="130" y="108"/>
                      <a:pt x="131" y="106"/>
                      <a:pt x="133" y="103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5" y="97"/>
                      <a:pt x="135" y="96"/>
                      <a:pt x="136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6" y="96"/>
                      <a:pt x="136" y="96"/>
                      <a:pt x="136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6"/>
                      <a:pt x="135" y="96"/>
                      <a:pt x="135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5"/>
                      <a:pt x="135" y="95"/>
                      <a:pt x="135" y="95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4" y="96"/>
                      <a:pt x="134" y="96"/>
                      <a:pt x="134" y="96"/>
                    </a:cubicBezTo>
                    <a:cubicBezTo>
                      <a:pt x="135" y="97"/>
                      <a:pt x="135" y="97"/>
                      <a:pt x="135" y="97"/>
                    </a:cubicBezTo>
                    <a:cubicBezTo>
                      <a:pt x="136" y="101"/>
                      <a:pt x="136" y="101"/>
                      <a:pt x="136" y="101"/>
                    </a:cubicBezTo>
                    <a:cubicBezTo>
                      <a:pt x="136" y="103"/>
                      <a:pt x="137" y="105"/>
                      <a:pt x="138" y="107"/>
                    </a:cubicBezTo>
                    <a:cubicBezTo>
                      <a:pt x="140" y="109"/>
                      <a:pt x="142" y="110"/>
                      <a:pt x="144" y="110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0"/>
                      <a:pt x="144" y="110"/>
                      <a:pt x="144" y="110"/>
                    </a:cubicBezTo>
                    <a:cubicBezTo>
                      <a:pt x="144" y="111"/>
                      <a:pt x="145" y="111"/>
                      <a:pt x="146" y="111"/>
                    </a:cubicBezTo>
                    <a:cubicBezTo>
                      <a:pt x="149" y="111"/>
                      <a:pt x="152" y="109"/>
                      <a:pt x="155" y="107"/>
                    </a:cubicBezTo>
                    <a:cubicBezTo>
                      <a:pt x="170" y="91"/>
                      <a:pt x="170" y="91"/>
                      <a:pt x="170" y="91"/>
                    </a:cubicBezTo>
                    <a:cubicBezTo>
                      <a:pt x="172" y="88"/>
                      <a:pt x="176" y="85"/>
                      <a:pt x="178" y="83"/>
                    </a:cubicBezTo>
                    <a:cubicBezTo>
                      <a:pt x="182" y="81"/>
                      <a:pt x="182" y="81"/>
                      <a:pt x="182" y="81"/>
                    </a:cubicBezTo>
                    <a:cubicBezTo>
                      <a:pt x="183" y="80"/>
                      <a:pt x="184" y="79"/>
                      <a:pt x="185" y="78"/>
                    </a:cubicBezTo>
                    <a:cubicBezTo>
                      <a:pt x="186" y="77"/>
                      <a:pt x="186" y="76"/>
                      <a:pt x="186" y="74"/>
                    </a:cubicBezTo>
                    <a:cubicBezTo>
                      <a:pt x="186" y="73"/>
                      <a:pt x="186" y="73"/>
                      <a:pt x="186" y="73"/>
                    </a:cubicBezTo>
                    <a:cubicBezTo>
                      <a:pt x="186" y="72"/>
                      <a:pt x="185" y="71"/>
                      <a:pt x="184" y="70"/>
                    </a:cubicBezTo>
                    <a:cubicBezTo>
                      <a:pt x="183" y="70"/>
                      <a:pt x="182" y="70"/>
                      <a:pt x="181" y="70"/>
                    </a:cubicBezTo>
                    <a:cubicBezTo>
                      <a:pt x="180" y="70"/>
                      <a:pt x="179" y="70"/>
                      <a:pt x="177" y="71"/>
                    </a:cubicBezTo>
                    <a:cubicBezTo>
                      <a:pt x="176" y="71"/>
                      <a:pt x="176" y="71"/>
                      <a:pt x="176" y="71"/>
                    </a:cubicBezTo>
                    <a:cubicBezTo>
                      <a:pt x="175" y="71"/>
                      <a:pt x="175" y="71"/>
                      <a:pt x="175" y="71"/>
                    </a:cubicBezTo>
                    <a:cubicBezTo>
                      <a:pt x="174" y="71"/>
                      <a:pt x="172" y="70"/>
                      <a:pt x="172" y="69"/>
                    </a:cubicBezTo>
                    <a:cubicBezTo>
                      <a:pt x="172" y="69"/>
                      <a:pt x="172" y="68"/>
                      <a:pt x="172" y="67"/>
                    </a:cubicBezTo>
                    <a:cubicBezTo>
                      <a:pt x="172" y="66"/>
                      <a:pt x="172" y="64"/>
                      <a:pt x="173" y="63"/>
                    </a:cubicBezTo>
                    <a:cubicBezTo>
                      <a:pt x="174" y="61"/>
                      <a:pt x="175" y="59"/>
                      <a:pt x="175" y="57"/>
                    </a:cubicBezTo>
                    <a:cubicBezTo>
                      <a:pt x="175" y="57"/>
                      <a:pt x="175" y="56"/>
                      <a:pt x="174" y="55"/>
                    </a:cubicBezTo>
                    <a:cubicBezTo>
                      <a:pt x="174" y="54"/>
                      <a:pt x="173" y="54"/>
                      <a:pt x="172" y="53"/>
                    </a:cubicBezTo>
                    <a:cubicBezTo>
                      <a:pt x="171" y="53"/>
                      <a:pt x="171" y="53"/>
                      <a:pt x="171" y="53"/>
                    </a:cubicBezTo>
                    <a:cubicBezTo>
                      <a:pt x="169" y="53"/>
                      <a:pt x="168" y="54"/>
                      <a:pt x="167" y="54"/>
                    </a:cubicBezTo>
                    <a:cubicBezTo>
                      <a:pt x="165" y="55"/>
                      <a:pt x="164" y="56"/>
                      <a:pt x="163" y="58"/>
                    </a:cubicBezTo>
                    <a:cubicBezTo>
                      <a:pt x="161" y="61"/>
                      <a:pt x="161" y="61"/>
                      <a:pt x="161" y="61"/>
                    </a:cubicBezTo>
                    <a:cubicBezTo>
                      <a:pt x="158" y="65"/>
                      <a:pt x="157" y="70"/>
                      <a:pt x="156" y="74"/>
                    </a:cubicBezTo>
                    <a:cubicBezTo>
                      <a:pt x="156" y="77"/>
                      <a:pt x="154" y="82"/>
                      <a:pt x="152" y="84"/>
                    </a:cubicBezTo>
                    <a:cubicBezTo>
                      <a:pt x="148" y="90"/>
                      <a:pt x="148" y="90"/>
                      <a:pt x="148" y="90"/>
                    </a:cubicBezTo>
                    <a:cubicBezTo>
                      <a:pt x="147" y="91"/>
                      <a:pt x="147" y="91"/>
                      <a:pt x="147" y="91"/>
                    </a:cubicBezTo>
                    <a:cubicBezTo>
                      <a:pt x="146" y="91"/>
                      <a:pt x="146" y="91"/>
                      <a:pt x="146" y="91"/>
                    </a:cubicBezTo>
                    <a:cubicBezTo>
                      <a:pt x="146" y="90"/>
                      <a:pt x="146" y="90"/>
                      <a:pt x="146" y="89"/>
                    </a:cubicBezTo>
                    <a:cubicBezTo>
                      <a:pt x="144" y="86"/>
                      <a:pt x="144" y="86"/>
                      <a:pt x="144" y="86"/>
                    </a:cubicBezTo>
                    <a:cubicBezTo>
                      <a:pt x="144" y="84"/>
                      <a:pt x="143" y="83"/>
                      <a:pt x="141" y="82"/>
                    </a:cubicBezTo>
                    <a:cubicBezTo>
                      <a:pt x="140" y="80"/>
                      <a:pt x="138" y="80"/>
                      <a:pt x="136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5" y="80"/>
                      <a:pt x="135" y="80"/>
                      <a:pt x="135" y="80"/>
                    </a:cubicBezTo>
                    <a:cubicBezTo>
                      <a:pt x="134" y="79"/>
                      <a:pt x="134" y="79"/>
                      <a:pt x="134" y="79"/>
                    </a:cubicBezTo>
                    <a:cubicBezTo>
                      <a:pt x="134" y="78"/>
                      <a:pt x="134" y="78"/>
                      <a:pt x="134" y="78"/>
                    </a:cubicBezTo>
                    <a:cubicBezTo>
                      <a:pt x="134" y="77"/>
                      <a:pt x="134" y="77"/>
                      <a:pt x="134" y="76"/>
                    </a:cubicBezTo>
                    <a:cubicBezTo>
                      <a:pt x="134" y="76"/>
                      <a:pt x="134" y="76"/>
                      <a:pt x="134" y="76"/>
                    </a:cubicBezTo>
                    <a:cubicBezTo>
                      <a:pt x="134" y="73"/>
                      <a:pt x="137" y="68"/>
                      <a:pt x="139" y="67"/>
                    </a:cubicBezTo>
                    <a:cubicBezTo>
                      <a:pt x="174" y="32"/>
                      <a:pt x="174" y="32"/>
                      <a:pt x="174" y="32"/>
                    </a:cubicBezTo>
                    <a:cubicBezTo>
                      <a:pt x="175" y="31"/>
                      <a:pt x="177" y="31"/>
                      <a:pt x="178" y="31"/>
                    </a:cubicBezTo>
                    <a:cubicBezTo>
                      <a:pt x="179" y="31"/>
                      <a:pt x="180" y="31"/>
                      <a:pt x="180" y="31"/>
                    </a:cubicBezTo>
                    <a:cubicBezTo>
                      <a:pt x="186" y="35"/>
                      <a:pt x="186" y="35"/>
                      <a:pt x="186" y="35"/>
                    </a:cubicBezTo>
                    <a:cubicBezTo>
                      <a:pt x="188" y="37"/>
                      <a:pt x="193" y="39"/>
                      <a:pt x="196" y="40"/>
                    </a:cubicBezTo>
                    <a:cubicBezTo>
                      <a:pt x="204" y="42"/>
                      <a:pt x="204" y="42"/>
                      <a:pt x="204" y="42"/>
                    </a:cubicBezTo>
                    <a:cubicBezTo>
                      <a:pt x="205" y="42"/>
                      <a:pt x="206" y="43"/>
                      <a:pt x="206" y="43"/>
                    </a:cubicBezTo>
                    <a:cubicBezTo>
                      <a:pt x="206" y="43"/>
                      <a:pt x="206" y="43"/>
                      <a:pt x="206" y="43"/>
                    </a:cubicBezTo>
                    <a:cubicBezTo>
                      <a:pt x="206" y="44"/>
                      <a:pt x="206" y="44"/>
                      <a:pt x="206" y="44"/>
                    </a:cubicBezTo>
                    <a:cubicBezTo>
                      <a:pt x="206" y="44"/>
                      <a:pt x="205" y="44"/>
                      <a:pt x="204" y="45"/>
                    </a:cubicBezTo>
                    <a:cubicBezTo>
                      <a:pt x="203" y="45"/>
                      <a:pt x="202" y="45"/>
                      <a:pt x="201" y="45"/>
                    </a:cubicBezTo>
                    <a:cubicBezTo>
                      <a:pt x="201" y="45"/>
                      <a:pt x="201" y="45"/>
                      <a:pt x="201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8" y="45"/>
                      <a:pt x="198" y="45"/>
                      <a:pt x="198" y="45"/>
                    </a:cubicBezTo>
                    <a:cubicBezTo>
                      <a:pt x="197" y="45"/>
                      <a:pt x="196" y="45"/>
                      <a:pt x="196" y="46"/>
                    </a:cubicBezTo>
                    <a:cubicBezTo>
                      <a:pt x="195" y="46"/>
                      <a:pt x="195" y="46"/>
                      <a:pt x="195" y="46"/>
                    </a:cubicBezTo>
                    <a:cubicBezTo>
                      <a:pt x="194" y="47"/>
                      <a:pt x="194" y="47"/>
                      <a:pt x="194" y="48"/>
                    </a:cubicBezTo>
                    <a:cubicBezTo>
                      <a:pt x="194" y="49"/>
                      <a:pt x="195" y="50"/>
                      <a:pt x="195" y="50"/>
                    </a:cubicBezTo>
                    <a:cubicBezTo>
                      <a:pt x="196" y="51"/>
                      <a:pt x="196" y="51"/>
                      <a:pt x="197" y="52"/>
                    </a:cubicBezTo>
                    <a:cubicBezTo>
                      <a:pt x="206" y="57"/>
                      <a:pt x="206" y="57"/>
                      <a:pt x="206" y="57"/>
                    </a:cubicBezTo>
                    <a:cubicBezTo>
                      <a:pt x="207" y="58"/>
                      <a:pt x="208" y="58"/>
                      <a:pt x="209" y="58"/>
                    </a:cubicBezTo>
                    <a:cubicBezTo>
                      <a:pt x="212" y="58"/>
                      <a:pt x="215" y="56"/>
                      <a:pt x="216" y="53"/>
                    </a:cubicBezTo>
                    <a:cubicBezTo>
                      <a:pt x="216" y="52"/>
                      <a:pt x="217" y="51"/>
                      <a:pt x="218" y="50"/>
                    </a:cubicBezTo>
                    <a:cubicBezTo>
                      <a:pt x="219" y="50"/>
                      <a:pt x="220" y="49"/>
                      <a:pt x="221" y="49"/>
                    </a:cubicBezTo>
                    <a:cubicBezTo>
                      <a:pt x="256" y="49"/>
                      <a:pt x="256" y="49"/>
                      <a:pt x="256" y="49"/>
                    </a:cubicBezTo>
                    <a:cubicBezTo>
                      <a:pt x="258" y="49"/>
                      <a:pt x="260" y="49"/>
                      <a:pt x="262" y="48"/>
                    </a:cubicBezTo>
                    <a:cubicBezTo>
                      <a:pt x="264" y="48"/>
                      <a:pt x="265" y="47"/>
                      <a:pt x="267" y="46"/>
                    </a:cubicBezTo>
                    <a:cubicBezTo>
                      <a:pt x="278" y="39"/>
                      <a:pt x="278" y="39"/>
                      <a:pt x="278" y="39"/>
                    </a:cubicBezTo>
                    <a:cubicBezTo>
                      <a:pt x="281" y="37"/>
                      <a:pt x="284" y="33"/>
                      <a:pt x="286" y="30"/>
                    </a:cubicBezTo>
                    <a:cubicBezTo>
                      <a:pt x="292" y="17"/>
                      <a:pt x="292" y="17"/>
                      <a:pt x="292" y="17"/>
                    </a:cubicBezTo>
                    <a:cubicBezTo>
                      <a:pt x="293" y="15"/>
                      <a:pt x="294" y="13"/>
                      <a:pt x="294" y="11"/>
                    </a:cubicBezTo>
                    <a:cubicBezTo>
                      <a:pt x="295" y="9"/>
                      <a:pt x="295" y="7"/>
                      <a:pt x="295" y="5"/>
                    </a:cubicBezTo>
                    <a:cubicBezTo>
                      <a:pt x="295" y="5"/>
                      <a:pt x="295" y="4"/>
                      <a:pt x="296" y="4"/>
                    </a:cubicBezTo>
                    <a:cubicBezTo>
                      <a:pt x="296" y="4"/>
                      <a:pt x="296" y="4"/>
                      <a:pt x="296" y="4"/>
                    </a:cubicBezTo>
                    <a:cubicBezTo>
                      <a:pt x="297" y="4"/>
                      <a:pt x="297" y="4"/>
                      <a:pt x="297" y="4"/>
                    </a:cubicBezTo>
                    <a:cubicBezTo>
                      <a:pt x="376" y="30"/>
                      <a:pt x="376" y="30"/>
                      <a:pt x="376" y="30"/>
                    </a:cubicBezTo>
                    <a:cubicBezTo>
                      <a:pt x="377" y="30"/>
                      <a:pt x="378" y="31"/>
                      <a:pt x="379" y="31"/>
                    </a:cubicBezTo>
                    <a:cubicBezTo>
                      <a:pt x="382" y="31"/>
                      <a:pt x="384" y="30"/>
                      <a:pt x="386" y="27"/>
                    </a:cubicBezTo>
                    <a:cubicBezTo>
                      <a:pt x="386" y="27"/>
                      <a:pt x="387" y="27"/>
                      <a:pt x="388" y="26"/>
                    </a:cubicBezTo>
                    <a:cubicBezTo>
                      <a:pt x="388" y="26"/>
                      <a:pt x="389" y="26"/>
                      <a:pt x="390" y="26"/>
                    </a:cubicBezTo>
                    <a:cubicBezTo>
                      <a:pt x="391" y="26"/>
                      <a:pt x="391" y="26"/>
                      <a:pt x="392" y="26"/>
                    </a:cubicBezTo>
                    <a:cubicBezTo>
                      <a:pt x="503" y="53"/>
                      <a:pt x="503" y="53"/>
                      <a:pt x="503" y="53"/>
                    </a:cubicBezTo>
                    <a:cubicBezTo>
                      <a:pt x="504" y="54"/>
                      <a:pt x="506" y="54"/>
                      <a:pt x="507" y="55"/>
                    </a:cubicBezTo>
                    <a:cubicBezTo>
                      <a:pt x="509" y="56"/>
                      <a:pt x="510" y="57"/>
                      <a:pt x="511" y="58"/>
                    </a:cubicBezTo>
                    <a:cubicBezTo>
                      <a:pt x="524" y="72"/>
                      <a:pt x="524" y="72"/>
                      <a:pt x="524" y="72"/>
                    </a:cubicBezTo>
                    <a:cubicBezTo>
                      <a:pt x="525" y="72"/>
                      <a:pt x="525" y="73"/>
                      <a:pt x="525" y="73"/>
                    </a:cubicBezTo>
                    <a:cubicBezTo>
                      <a:pt x="525" y="74"/>
                      <a:pt x="525" y="74"/>
                      <a:pt x="524" y="75"/>
                    </a:cubicBezTo>
                    <a:cubicBezTo>
                      <a:pt x="521" y="76"/>
                      <a:pt x="521" y="76"/>
                      <a:pt x="521" y="76"/>
                    </a:cubicBezTo>
                    <a:cubicBezTo>
                      <a:pt x="519" y="77"/>
                      <a:pt x="517" y="80"/>
                      <a:pt x="517" y="82"/>
                    </a:cubicBezTo>
                    <a:cubicBezTo>
                      <a:pt x="517" y="84"/>
                      <a:pt x="518" y="85"/>
                      <a:pt x="519" y="87"/>
                    </a:cubicBezTo>
                    <a:cubicBezTo>
                      <a:pt x="538" y="120"/>
                      <a:pt x="538" y="120"/>
                      <a:pt x="538" y="120"/>
                    </a:cubicBezTo>
                    <a:cubicBezTo>
                      <a:pt x="539" y="121"/>
                      <a:pt x="540" y="123"/>
                      <a:pt x="540" y="125"/>
                    </a:cubicBezTo>
                    <a:cubicBezTo>
                      <a:pt x="540" y="126"/>
                      <a:pt x="539" y="127"/>
                      <a:pt x="539" y="128"/>
                    </a:cubicBezTo>
                    <a:cubicBezTo>
                      <a:pt x="539" y="129"/>
                      <a:pt x="538" y="129"/>
                      <a:pt x="538" y="129"/>
                    </a:cubicBezTo>
                    <a:cubicBezTo>
                      <a:pt x="538" y="129"/>
                      <a:pt x="538" y="129"/>
                      <a:pt x="538" y="129"/>
                    </a:cubicBezTo>
                    <a:cubicBezTo>
                      <a:pt x="538" y="129"/>
                      <a:pt x="537" y="129"/>
                      <a:pt x="536" y="128"/>
                    </a:cubicBezTo>
                    <a:cubicBezTo>
                      <a:pt x="503" y="78"/>
                      <a:pt x="503" y="78"/>
                      <a:pt x="503" y="78"/>
                    </a:cubicBezTo>
                    <a:cubicBezTo>
                      <a:pt x="502" y="76"/>
                      <a:pt x="499" y="74"/>
                      <a:pt x="496" y="74"/>
                    </a:cubicBezTo>
                    <a:cubicBezTo>
                      <a:pt x="495" y="74"/>
                      <a:pt x="494" y="75"/>
                      <a:pt x="493" y="75"/>
                    </a:cubicBezTo>
                    <a:cubicBezTo>
                      <a:pt x="474" y="86"/>
                      <a:pt x="474" y="86"/>
                      <a:pt x="474" y="86"/>
                    </a:cubicBezTo>
                    <a:cubicBezTo>
                      <a:pt x="471" y="88"/>
                      <a:pt x="470" y="91"/>
                      <a:pt x="470" y="94"/>
                    </a:cubicBezTo>
                    <a:cubicBezTo>
                      <a:pt x="470" y="96"/>
                      <a:pt x="470" y="97"/>
                      <a:pt x="470" y="98"/>
                    </a:cubicBezTo>
                    <a:cubicBezTo>
                      <a:pt x="475" y="114"/>
                      <a:pt x="475" y="114"/>
                      <a:pt x="475" y="114"/>
                    </a:cubicBezTo>
                    <a:cubicBezTo>
                      <a:pt x="476" y="116"/>
                      <a:pt x="477" y="118"/>
                      <a:pt x="479" y="119"/>
                    </a:cubicBezTo>
                    <a:cubicBezTo>
                      <a:pt x="480" y="121"/>
                      <a:pt x="482" y="122"/>
                      <a:pt x="484" y="122"/>
                    </a:cubicBezTo>
                    <a:cubicBezTo>
                      <a:pt x="495" y="124"/>
                      <a:pt x="495" y="124"/>
                      <a:pt x="495" y="124"/>
                    </a:cubicBezTo>
                    <a:cubicBezTo>
                      <a:pt x="495" y="124"/>
                      <a:pt x="497" y="125"/>
                      <a:pt x="497" y="126"/>
                    </a:cubicBezTo>
                    <a:cubicBezTo>
                      <a:pt x="498" y="127"/>
                      <a:pt x="499" y="128"/>
                      <a:pt x="499" y="130"/>
                    </a:cubicBezTo>
                    <a:cubicBezTo>
                      <a:pt x="505" y="155"/>
                      <a:pt x="505" y="155"/>
                      <a:pt x="505" y="155"/>
                    </a:cubicBezTo>
                    <a:cubicBezTo>
                      <a:pt x="505" y="156"/>
                      <a:pt x="505" y="157"/>
                      <a:pt x="505" y="158"/>
                    </a:cubicBezTo>
                    <a:cubicBezTo>
                      <a:pt x="505" y="161"/>
                      <a:pt x="505" y="164"/>
                      <a:pt x="504" y="166"/>
                    </a:cubicBezTo>
                    <a:cubicBezTo>
                      <a:pt x="500" y="175"/>
                      <a:pt x="500" y="175"/>
                      <a:pt x="500" y="175"/>
                    </a:cubicBezTo>
                    <a:cubicBezTo>
                      <a:pt x="499" y="177"/>
                      <a:pt x="499" y="178"/>
                      <a:pt x="499" y="180"/>
                    </a:cubicBezTo>
                    <a:cubicBezTo>
                      <a:pt x="499" y="183"/>
                      <a:pt x="500" y="186"/>
                      <a:pt x="501" y="188"/>
                    </a:cubicBezTo>
                    <a:cubicBezTo>
                      <a:pt x="516" y="205"/>
                      <a:pt x="516" y="205"/>
                      <a:pt x="516" y="205"/>
                    </a:cubicBezTo>
                    <a:cubicBezTo>
                      <a:pt x="517" y="206"/>
                      <a:pt x="518" y="208"/>
                      <a:pt x="518" y="210"/>
                    </a:cubicBezTo>
                    <a:cubicBezTo>
                      <a:pt x="518" y="211"/>
                      <a:pt x="518" y="211"/>
                      <a:pt x="518" y="211"/>
                    </a:cubicBezTo>
                    <a:cubicBezTo>
                      <a:pt x="517" y="212"/>
                      <a:pt x="517" y="212"/>
                      <a:pt x="517" y="212"/>
                    </a:cubicBezTo>
                    <a:cubicBezTo>
                      <a:pt x="517" y="212"/>
                      <a:pt x="516" y="212"/>
                      <a:pt x="515" y="211"/>
                    </a:cubicBezTo>
                    <a:cubicBezTo>
                      <a:pt x="494" y="187"/>
                      <a:pt x="494" y="187"/>
                      <a:pt x="494" y="187"/>
                    </a:cubicBezTo>
                    <a:cubicBezTo>
                      <a:pt x="492" y="185"/>
                      <a:pt x="488" y="182"/>
                      <a:pt x="485" y="180"/>
                    </a:cubicBezTo>
                    <a:cubicBezTo>
                      <a:pt x="478" y="176"/>
                      <a:pt x="478" y="176"/>
                      <a:pt x="478" y="176"/>
                    </a:cubicBezTo>
                    <a:cubicBezTo>
                      <a:pt x="477" y="175"/>
                      <a:pt x="476" y="175"/>
                      <a:pt x="475" y="175"/>
                    </a:cubicBezTo>
                    <a:cubicBezTo>
                      <a:pt x="473" y="175"/>
                      <a:pt x="472" y="176"/>
                      <a:pt x="471" y="177"/>
                    </a:cubicBezTo>
                    <a:cubicBezTo>
                      <a:pt x="470" y="178"/>
                      <a:pt x="469" y="179"/>
                      <a:pt x="469" y="180"/>
                    </a:cubicBezTo>
                    <a:cubicBezTo>
                      <a:pt x="468" y="181"/>
                      <a:pt x="468" y="182"/>
                      <a:pt x="468" y="184"/>
                    </a:cubicBezTo>
                    <a:cubicBezTo>
                      <a:pt x="468" y="187"/>
                      <a:pt x="469" y="190"/>
                      <a:pt x="471" y="193"/>
                    </a:cubicBezTo>
                    <a:cubicBezTo>
                      <a:pt x="472" y="195"/>
                      <a:pt x="472" y="195"/>
                      <a:pt x="472" y="195"/>
                    </a:cubicBezTo>
                    <a:cubicBezTo>
                      <a:pt x="473" y="196"/>
                      <a:pt x="474" y="197"/>
                      <a:pt x="475" y="198"/>
                    </a:cubicBezTo>
                    <a:cubicBezTo>
                      <a:pt x="477" y="199"/>
                      <a:pt x="478" y="200"/>
                      <a:pt x="480" y="200"/>
                    </a:cubicBezTo>
                    <a:cubicBezTo>
                      <a:pt x="481" y="200"/>
                      <a:pt x="481" y="200"/>
                      <a:pt x="482" y="200"/>
                    </a:cubicBezTo>
                    <a:cubicBezTo>
                      <a:pt x="482" y="199"/>
                      <a:pt x="482" y="199"/>
                      <a:pt x="482" y="199"/>
                    </a:cubicBezTo>
                    <a:cubicBezTo>
                      <a:pt x="482" y="199"/>
                      <a:pt x="483" y="200"/>
                      <a:pt x="484" y="200"/>
                    </a:cubicBezTo>
                    <a:cubicBezTo>
                      <a:pt x="484" y="201"/>
                      <a:pt x="485" y="202"/>
                      <a:pt x="485" y="203"/>
                    </a:cubicBezTo>
                    <a:cubicBezTo>
                      <a:pt x="486" y="206"/>
                      <a:pt x="486" y="206"/>
                      <a:pt x="486" y="206"/>
                    </a:cubicBezTo>
                    <a:cubicBezTo>
                      <a:pt x="487" y="210"/>
                      <a:pt x="490" y="215"/>
                      <a:pt x="493" y="217"/>
                    </a:cubicBezTo>
                    <a:cubicBezTo>
                      <a:pt x="508" y="233"/>
                      <a:pt x="508" y="233"/>
                      <a:pt x="508" y="233"/>
                    </a:cubicBezTo>
                    <a:cubicBezTo>
                      <a:pt x="509" y="234"/>
                      <a:pt x="510" y="235"/>
                      <a:pt x="511" y="237"/>
                    </a:cubicBezTo>
                    <a:cubicBezTo>
                      <a:pt x="511" y="239"/>
                      <a:pt x="512" y="241"/>
                      <a:pt x="512" y="242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69"/>
                      <a:pt x="513" y="269"/>
                      <a:pt x="513" y="269"/>
                    </a:cubicBezTo>
                    <a:cubicBezTo>
                      <a:pt x="513" y="271"/>
                      <a:pt x="513" y="272"/>
                      <a:pt x="512" y="272"/>
                    </a:cubicBezTo>
                    <a:cubicBezTo>
                      <a:pt x="512" y="273"/>
                      <a:pt x="511" y="273"/>
                      <a:pt x="510" y="273"/>
                    </a:cubicBezTo>
                    <a:cubicBezTo>
                      <a:pt x="493" y="273"/>
                      <a:pt x="493" y="273"/>
                      <a:pt x="493" y="273"/>
                    </a:cubicBezTo>
                    <a:cubicBezTo>
                      <a:pt x="490" y="273"/>
                      <a:pt x="489" y="275"/>
                      <a:pt x="487" y="276"/>
                    </a:cubicBezTo>
                    <a:cubicBezTo>
                      <a:pt x="486" y="278"/>
                      <a:pt x="485" y="280"/>
                      <a:pt x="485" y="282"/>
                    </a:cubicBezTo>
                    <a:cubicBezTo>
                      <a:pt x="485" y="289"/>
                      <a:pt x="485" y="289"/>
                      <a:pt x="485" y="289"/>
                    </a:cubicBezTo>
                    <a:cubicBezTo>
                      <a:pt x="485" y="293"/>
                      <a:pt x="487" y="299"/>
                      <a:pt x="489" y="302"/>
                    </a:cubicBezTo>
                    <a:cubicBezTo>
                      <a:pt x="502" y="324"/>
                      <a:pt x="502" y="324"/>
                      <a:pt x="502" y="324"/>
                    </a:cubicBezTo>
                    <a:cubicBezTo>
                      <a:pt x="503" y="325"/>
                      <a:pt x="503" y="326"/>
                      <a:pt x="503" y="328"/>
                    </a:cubicBezTo>
                    <a:cubicBezTo>
                      <a:pt x="503" y="329"/>
                      <a:pt x="503" y="331"/>
                      <a:pt x="502" y="332"/>
                    </a:cubicBezTo>
                    <a:cubicBezTo>
                      <a:pt x="492" y="349"/>
                      <a:pt x="492" y="349"/>
                      <a:pt x="492" y="349"/>
                    </a:cubicBezTo>
                    <a:cubicBezTo>
                      <a:pt x="492" y="350"/>
                      <a:pt x="491" y="350"/>
                      <a:pt x="491" y="350"/>
                    </a:cubicBezTo>
                    <a:cubicBezTo>
                      <a:pt x="490" y="350"/>
                      <a:pt x="490" y="350"/>
                      <a:pt x="489" y="349"/>
                    </a:cubicBezTo>
                    <a:cubicBezTo>
                      <a:pt x="477" y="333"/>
                      <a:pt x="477" y="333"/>
                      <a:pt x="477" y="333"/>
                    </a:cubicBezTo>
                    <a:cubicBezTo>
                      <a:pt x="476" y="333"/>
                      <a:pt x="476" y="332"/>
                      <a:pt x="475" y="332"/>
                    </a:cubicBezTo>
                    <a:cubicBezTo>
                      <a:pt x="474" y="331"/>
                      <a:pt x="474" y="331"/>
                      <a:pt x="473" y="331"/>
                    </a:cubicBezTo>
                    <a:cubicBezTo>
                      <a:pt x="472" y="331"/>
                      <a:pt x="471" y="331"/>
                      <a:pt x="471" y="332"/>
                    </a:cubicBezTo>
                    <a:cubicBezTo>
                      <a:pt x="470" y="332"/>
                      <a:pt x="470" y="333"/>
                      <a:pt x="469" y="334"/>
                    </a:cubicBezTo>
                    <a:cubicBezTo>
                      <a:pt x="469" y="335"/>
                      <a:pt x="469" y="336"/>
                      <a:pt x="469" y="337"/>
                    </a:cubicBezTo>
                    <a:cubicBezTo>
                      <a:pt x="469" y="341"/>
                      <a:pt x="469" y="341"/>
                      <a:pt x="469" y="341"/>
                    </a:cubicBezTo>
                    <a:cubicBezTo>
                      <a:pt x="469" y="345"/>
                      <a:pt x="470" y="351"/>
                      <a:pt x="472" y="354"/>
                    </a:cubicBezTo>
                    <a:cubicBezTo>
                      <a:pt x="487" y="384"/>
                      <a:pt x="487" y="384"/>
                      <a:pt x="487" y="384"/>
                    </a:cubicBezTo>
                    <a:cubicBezTo>
                      <a:pt x="488" y="384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8" y="385"/>
                      <a:pt x="488" y="385"/>
                      <a:pt x="488" y="385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9" y="385"/>
                      <a:pt x="489" y="385"/>
                      <a:pt x="489" y="385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9" y="384"/>
                      <a:pt x="489" y="384"/>
                      <a:pt x="489" y="384"/>
                    </a:cubicBezTo>
                    <a:cubicBezTo>
                      <a:pt x="488" y="384"/>
                      <a:pt x="488" y="384"/>
                      <a:pt x="488" y="384"/>
                    </a:cubicBezTo>
                    <a:cubicBezTo>
                      <a:pt x="483" y="381"/>
                      <a:pt x="483" y="381"/>
                      <a:pt x="483" y="381"/>
                    </a:cubicBezTo>
                    <a:cubicBezTo>
                      <a:pt x="482" y="381"/>
                      <a:pt x="481" y="380"/>
                      <a:pt x="480" y="379"/>
                    </a:cubicBezTo>
                    <a:cubicBezTo>
                      <a:pt x="479" y="377"/>
                      <a:pt x="477" y="376"/>
                      <a:pt x="477" y="374"/>
                    </a:cubicBezTo>
                    <a:cubicBezTo>
                      <a:pt x="466" y="351"/>
                      <a:pt x="466" y="351"/>
                      <a:pt x="466" y="351"/>
                    </a:cubicBezTo>
                    <a:cubicBezTo>
                      <a:pt x="465" y="349"/>
                      <a:pt x="463" y="343"/>
                      <a:pt x="463" y="340"/>
                    </a:cubicBezTo>
                    <a:cubicBezTo>
                      <a:pt x="463" y="336"/>
                      <a:pt x="463" y="336"/>
                      <a:pt x="463" y="336"/>
                    </a:cubicBezTo>
                    <a:cubicBezTo>
                      <a:pt x="463" y="333"/>
                      <a:pt x="463" y="331"/>
                      <a:pt x="462" y="329"/>
                    </a:cubicBezTo>
                    <a:cubicBezTo>
                      <a:pt x="462" y="327"/>
                      <a:pt x="461" y="324"/>
                      <a:pt x="459" y="323"/>
                    </a:cubicBezTo>
                    <a:cubicBezTo>
                      <a:pt x="425" y="277"/>
                      <a:pt x="425" y="277"/>
                      <a:pt x="425" y="277"/>
                    </a:cubicBezTo>
                    <a:cubicBezTo>
                      <a:pt x="424" y="275"/>
                      <a:pt x="422" y="274"/>
                      <a:pt x="420" y="274"/>
                    </a:cubicBezTo>
                    <a:cubicBezTo>
                      <a:pt x="418" y="274"/>
                      <a:pt x="416" y="275"/>
                      <a:pt x="414" y="277"/>
                    </a:cubicBezTo>
                    <a:cubicBezTo>
                      <a:pt x="391" y="309"/>
                      <a:pt x="391" y="309"/>
                      <a:pt x="391" y="309"/>
                    </a:cubicBezTo>
                    <a:cubicBezTo>
                      <a:pt x="389" y="312"/>
                      <a:pt x="387" y="316"/>
                      <a:pt x="387" y="321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2"/>
                      <a:pt x="387" y="322"/>
                      <a:pt x="387" y="322"/>
                    </a:cubicBezTo>
                    <a:cubicBezTo>
                      <a:pt x="387" y="323"/>
                      <a:pt x="387" y="323"/>
                      <a:pt x="387" y="324"/>
                    </a:cubicBezTo>
                    <a:cubicBezTo>
                      <a:pt x="387" y="327"/>
                      <a:pt x="387" y="332"/>
                      <a:pt x="386" y="334"/>
                    </a:cubicBezTo>
                    <a:cubicBezTo>
                      <a:pt x="380" y="348"/>
                      <a:pt x="380" y="348"/>
                      <a:pt x="380" y="348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50"/>
                      <a:pt x="380" y="350"/>
                      <a:pt x="380" y="350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9"/>
                    </a:cubicBezTo>
                    <a:cubicBezTo>
                      <a:pt x="380" y="349"/>
                      <a:pt x="380" y="349"/>
                      <a:pt x="380" y="348"/>
                    </a:cubicBezTo>
                    <a:cubicBezTo>
                      <a:pt x="356" y="286"/>
                      <a:pt x="356" y="286"/>
                      <a:pt x="356" y="286"/>
                    </a:cubicBezTo>
                    <a:cubicBezTo>
                      <a:pt x="355" y="284"/>
                      <a:pt x="354" y="283"/>
                      <a:pt x="353" y="282"/>
                    </a:cubicBezTo>
                    <a:cubicBezTo>
                      <a:pt x="352" y="281"/>
                      <a:pt x="351" y="280"/>
                      <a:pt x="349" y="280"/>
                    </a:cubicBezTo>
                    <a:cubicBezTo>
                      <a:pt x="348" y="280"/>
                      <a:pt x="347" y="280"/>
                      <a:pt x="347" y="281"/>
                    </a:cubicBezTo>
                    <a:cubicBezTo>
                      <a:pt x="346" y="281"/>
                      <a:pt x="346" y="281"/>
                      <a:pt x="346" y="281"/>
                    </a:cubicBezTo>
                    <a:cubicBezTo>
                      <a:pt x="345" y="281"/>
                      <a:pt x="344" y="281"/>
                      <a:pt x="342" y="279"/>
                    </a:cubicBezTo>
                    <a:cubicBezTo>
                      <a:pt x="331" y="268"/>
                      <a:pt x="331" y="268"/>
                      <a:pt x="331" y="268"/>
                    </a:cubicBezTo>
                    <a:cubicBezTo>
                      <a:pt x="330" y="266"/>
                      <a:pt x="328" y="265"/>
                      <a:pt x="326" y="264"/>
                    </a:cubicBezTo>
                    <a:cubicBezTo>
                      <a:pt x="325" y="263"/>
                      <a:pt x="323" y="263"/>
                      <a:pt x="321" y="263"/>
                    </a:cubicBezTo>
                    <a:cubicBezTo>
                      <a:pt x="304" y="263"/>
                      <a:pt x="304" y="263"/>
                      <a:pt x="304" y="263"/>
                    </a:cubicBezTo>
                    <a:cubicBezTo>
                      <a:pt x="303" y="263"/>
                      <a:pt x="301" y="262"/>
                      <a:pt x="300" y="262"/>
                    </a:cubicBezTo>
                    <a:cubicBezTo>
                      <a:pt x="298" y="261"/>
                      <a:pt x="297" y="261"/>
                      <a:pt x="296" y="260"/>
                    </a:cubicBezTo>
                    <a:cubicBezTo>
                      <a:pt x="260" y="232"/>
                      <a:pt x="260" y="232"/>
                      <a:pt x="260" y="232"/>
                    </a:cubicBezTo>
                    <a:cubicBezTo>
                      <a:pt x="259" y="231"/>
                      <a:pt x="257" y="231"/>
                      <a:pt x="256" y="231"/>
                    </a:cubicBezTo>
                    <a:cubicBezTo>
                      <a:pt x="253" y="231"/>
                      <a:pt x="251" y="232"/>
                      <a:pt x="249" y="234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9" y="235"/>
                      <a:pt x="249" y="235"/>
                      <a:pt x="249" y="235"/>
                    </a:cubicBezTo>
                    <a:cubicBezTo>
                      <a:pt x="248" y="236"/>
                      <a:pt x="247" y="238"/>
                      <a:pt x="247" y="240"/>
                    </a:cubicBezTo>
                    <a:cubicBezTo>
                      <a:pt x="247" y="242"/>
                      <a:pt x="248" y="245"/>
                      <a:pt x="249" y="246"/>
                    </a:cubicBezTo>
                    <a:cubicBezTo>
                      <a:pt x="268" y="265"/>
                      <a:pt x="268" y="265"/>
                      <a:pt x="268" y="265"/>
                    </a:cubicBezTo>
                    <a:cubicBezTo>
                      <a:pt x="269" y="266"/>
                      <a:pt x="271" y="267"/>
                      <a:pt x="273" y="268"/>
                    </a:cubicBezTo>
                    <a:cubicBezTo>
                      <a:pt x="275" y="269"/>
                      <a:pt x="277" y="269"/>
                      <a:pt x="279" y="269"/>
                    </a:cubicBezTo>
                    <a:cubicBezTo>
                      <a:pt x="282" y="269"/>
                      <a:pt x="282" y="269"/>
                      <a:pt x="282" y="269"/>
                    </a:cubicBezTo>
                    <a:cubicBezTo>
                      <a:pt x="283" y="269"/>
                      <a:pt x="285" y="270"/>
                      <a:pt x="286" y="270"/>
                    </a:cubicBezTo>
                    <a:cubicBezTo>
                      <a:pt x="288" y="271"/>
                      <a:pt x="289" y="272"/>
                      <a:pt x="290" y="272"/>
                    </a:cubicBezTo>
                    <a:cubicBezTo>
                      <a:pt x="295" y="275"/>
                      <a:pt x="295" y="275"/>
                      <a:pt x="295" y="275"/>
                    </a:cubicBezTo>
                    <a:cubicBezTo>
                      <a:pt x="296" y="276"/>
                      <a:pt x="296" y="277"/>
                      <a:pt x="296" y="278"/>
                    </a:cubicBezTo>
                    <a:cubicBezTo>
                      <a:pt x="296" y="279"/>
                      <a:pt x="296" y="280"/>
                      <a:pt x="295" y="281"/>
                    </a:cubicBezTo>
                    <a:cubicBezTo>
                      <a:pt x="271" y="317"/>
                      <a:pt x="271" y="317"/>
                      <a:pt x="271" y="317"/>
                    </a:cubicBezTo>
                    <a:cubicBezTo>
                      <a:pt x="270" y="318"/>
                      <a:pt x="269" y="319"/>
                      <a:pt x="267" y="320"/>
                    </a:cubicBezTo>
                    <a:cubicBezTo>
                      <a:pt x="266" y="320"/>
                      <a:pt x="265" y="321"/>
                      <a:pt x="264" y="321"/>
                    </a:cubicBezTo>
                    <a:cubicBezTo>
                      <a:pt x="257" y="321"/>
                      <a:pt x="257" y="321"/>
                      <a:pt x="257" y="321"/>
                    </a:cubicBezTo>
                    <a:cubicBezTo>
                      <a:pt x="256" y="321"/>
                      <a:pt x="255" y="320"/>
                      <a:pt x="253" y="320"/>
                    </a:cubicBezTo>
                    <a:cubicBezTo>
                      <a:pt x="252" y="319"/>
                      <a:pt x="250" y="318"/>
                      <a:pt x="249" y="317"/>
                    </a:cubicBezTo>
                    <a:cubicBezTo>
                      <a:pt x="240" y="309"/>
                      <a:pt x="240" y="309"/>
                      <a:pt x="240" y="309"/>
                    </a:cubicBezTo>
                    <a:cubicBezTo>
                      <a:pt x="238" y="307"/>
                      <a:pt x="235" y="303"/>
                      <a:pt x="234" y="300"/>
                    </a:cubicBezTo>
                    <a:cubicBezTo>
                      <a:pt x="214" y="254"/>
                      <a:pt x="214" y="254"/>
                      <a:pt x="214" y="254"/>
                    </a:cubicBezTo>
                    <a:cubicBezTo>
                      <a:pt x="213" y="253"/>
                      <a:pt x="212" y="251"/>
                      <a:pt x="211" y="250"/>
                    </a:cubicBezTo>
                    <a:cubicBezTo>
                      <a:pt x="209" y="248"/>
                      <a:pt x="208" y="247"/>
                      <a:pt x="206" y="247"/>
                    </a:cubicBezTo>
                    <a:cubicBezTo>
                      <a:pt x="205" y="247"/>
                      <a:pt x="203" y="248"/>
                      <a:pt x="203" y="249"/>
                    </a:cubicBezTo>
                    <a:cubicBezTo>
                      <a:pt x="202" y="250"/>
                      <a:pt x="202" y="251"/>
                      <a:pt x="202" y="252"/>
                    </a:cubicBezTo>
                    <a:cubicBezTo>
                      <a:pt x="202" y="254"/>
                      <a:pt x="202" y="255"/>
                      <a:pt x="203" y="256"/>
                    </a:cubicBezTo>
                    <a:cubicBezTo>
                      <a:pt x="232" y="331"/>
                      <a:pt x="232" y="331"/>
                      <a:pt x="232" y="331"/>
                    </a:cubicBezTo>
                    <a:cubicBezTo>
                      <a:pt x="233" y="333"/>
                      <a:pt x="234" y="334"/>
                      <a:pt x="236" y="336"/>
                    </a:cubicBezTo>
                    <a:cubicBezTo>
                      <a:pt x="237" y="337"/>
                      <a:pt x="239" y="338"/>
                      <a:pt x="241" y="338"/>
                    </a:cubicBezTo>
                    <a:cubicBezTo>
                      <a:pt x="242" y="338"/>
                      <a:pt x="242" y="338"/>
                      <a:pt x="242" y="338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6" y="336"/>
                      <a:pt x="266" y="336"/>
                      <a:pt x="266" y="336"/>
                    </a:cubicBezTo>
                    <a:cubicBezTo>
                      <a:pt x="267" y="336"/>
                      <a:pt x="267" y="336"/>
                      <a:pt x="267" y="336"/>
                    </a:cubicBezTo>
                    <a:cubicBezTo>
                      <a:pt x="267" y="337"/>
                      <a:pt x="267" y="337"/>
                      <a:pt x="267" y="337"/>
                    </a:cubicBezTo>
                    <a:cubicBezTo>
                      <a:pt x="267" y="338"/>
                      <a:pt x="267" y="338"/>
                      <a:pt x="266" y="339"/>
                    </a:cubicBezTo>
                    <a:cubicBezTo>
                      <a:pt x="250" y="380"/>
                      <a:pt x="250" y="380"/>
                      <a:pt x="250" y="380"/>
                    </a:cubicBezTo>
                    <a:cubicBezTo>
                      <a:pt x="248" y="383"/>
                      <a:pt x="246" y="388"/>
                      <a:pt x="244" y="390"/>
                    </a:cubicBezTo>
                    <a:cubicBezTo>
                      <a:pt x="223" y="415"/>
                      <a:pt x="223" y="415"/>
                      <a:pt x="223" y="415"/>
                    </a:cubicBezTo>
                    <a:cubicBezTo>
                      <a:pt x="222" y="417"/>
                      <a:pt x="221" y="419"/>
                      <a:pt x="220" y="421"/>
                    </a:cubicBezTo>
                    <a:cubicBezTo>
                      <a:pt x="220" y="423"/>
                      <a:pt x="219" y="426"/>
                      <a:pt x="219" y="428"/>
                    </a:cubicBezTo>
                    <a:cubicBezTo>
                      <a:pt x="219" y="437"/>
                      <a:pt x="219" y="437"/>
                      <a:pt x="219" y="437"/>
                    </a:cubicBezTo>
                    <a:cubicBezTo>
                      <a:pt x="219" y="441"/>
                      <a:pt x="220" y="447"/>
                      <a:pt x="222" y="450"/>
                    </a:cubicBezTo>
                    <a:cubicBezTo>
                      <a:pt x="222" y="450"/>
                      <a:pt x="222" y="450"/>
                      <a:pt x="222" y="450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3" y="451"/>
                      <a:pt x="223" y="451"/>
                      <a:pt x="223" y="451"/>
                    </a:cubicBezTo>
                    <a:cubicBezTo>
                      <a:pt x="224" y="454"/>
                      <a:pt x="225" y="459"/>
                      <a:pt x="225" y="462"/>
                    </a:cubicBezTo>
                    <a:cubicBezTo>
                      <a:pt x="225" y="481"/>
                      <a:pt x="225" y="481"/>
                      <a:pt x="225" y="481"/>
                    </a:cubicBezTo>
                    <a:cubicBezTo>
                      <a:pt x="225" y="482"/>
                      <a:pt x="225" y="484"/>
                      <a:pt x="224" y="486"/>
                    </a:cubicBezTo>
                    <a:cubicBezTo>
                      <a:pt x="224" y="488"/>
                      <a:pt x="223" y="489"/>
                      <a:pt x="222" y="490"/>
                    </a:cubicBezTo>
                    <a:cubicBezTo>
                      <a:pt x="206" y="506"/>
                      <a:pt x="206" y="506"/>
                      <a:pt x="206" y="506"/>
                    </a:cubicBezTo>
                    <a:cubicBezTo>
                      <a:pt x="204" y="507"/>
                      <a:pt x="203" y="509"/>
                      <a:pt x="202" y="511"/>
                    </a:cubicBezTo>
                    <a:cubicBezTo>
                      <a:pt x="202" y="513"/>
                      <a:pt x="201" y="516"/>
                      <a:pt x="201" y="518"/>
                    </a:cubicBezTo>
                    <a:cubicBezTo>
                      <a:pt x="201" y="526"/>
                      <a:pt x="201" y="526"/>
                      <a:pt x="201" y="526"/>
                    </a:cubicBezTo>
                    <a:cubicBezTo>
                      <a:pt x="201" y="527"/>
                      <a:pt x="201" y="529"/>
                      <a:pt x="200" y="531"/>
                    </a:cubicBezTo>
                    <a:cubicBezTo>
                      <a:pt x="199" y="533"/>
                      <a:pt x="199" y="535"/>
                      <a:pt x="198" y="536"/>
                    </a:cubicBezTo>
                    <a:cubicBezTo>
                      <a:pt x="170" y="570"/>
                      <a:pt x="170" y="570"/>
                      <a:pt x="170" y="570"/>
                    </a:cubicBezTo>
                    <a:cubicBezTo>
                      <a:pt x="169" y="571"/>
                      <a:pt x="168" y="573"/>
                      <a:pt x="166" y="574"/>
                    </a:cubicBezTo>
                    <a:cubicBezTo>
                      <a:pt x="165" y="575"/>
                      <a:pt x="163" y="576"/>
                      <a:pt x="162" y="576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2" y="582"/>
                      <a:pt x="142" y="582"/>
                      <a:pt x="142" y="582"/>
                    </a:cubicBezTo>
                    <a:cubicBezTo>
                      <a:pt x="141" y="582"/>
                      <a:pt x="141" y="582"/>
                      <a:pt x="140" y="582"/>
                    </a:cubicBezTo>
                    <a:cubicBezTo>
                      <a:pt x="139" y="581"/>
                      <a:pt x="139" y="580"/>
                      <a:pt x="138" y="579"/>
                    </a:cubicBezTo>
                    <a:cubicBezTo>
                      <a:pt x="111" y="492"/>
                      <a:pt x="111" y="492"/>
                      <a:pt x="111" y="492"/>
                    </a:cubicBezTo>
                    <a:cubicBezTo>
                      <a:pt x="111" y="491"/>
                      <a:pt x="111" y="489"/>
                      <a:pt x="111" y="487"/>
                    </a:cubicBezTo>
                    <a:cubicBezTo>
                      <a:pt x="111" y="485"/>
                      <a:pt x="111" y="483"/>
                      <a:pt x="112" y="481"/>
                    </a:cubicBezTo>
                    <a:cubicBezTo>
                      <a:pt x="117" y="467"/>
                      <a:pt x="117" y="467"/>
                      <a:pt x="117" y="467"/>
                    </a:cubicBezTo>
                    <a:cubicBezTo>
                      <a:pt x="118" y="465"/>
                      <a:pt x="118" y="462"/>
                      <a:pt x="118" y="459"/>
                    </a:cubicBezTo>
                    <a:cubicBezTo>
                      <a:pt x="118" y="457"/>
                      <a:pt x="118" y="455"/>
                      <a:pt x="118" y="453"/>
                    </a:cubicBezTo>
                    <a:cubicBezTo>
                      <a:pt x="108" y="415"/>
                      <a:pt x="108" y="415"/>
                      <a:pt x="108" y="415"/>
                    </a:cubicBezTo>
                    <a:cubicBezTo>
                      <a:pt x="108" y="412"/>
                      <a:pt x="107" y="406"/>
                      <a:pt x="107" y="403"/>
                    </a:cubicBezTo>
                    <a:cubicBezTo>
                      <a:pt x="107" y="388"/>
                      <a:pt x="107" y="388"/>
                      <a:pt x="107" y="388"/>
                    </a:cubicBezTo>
                    <a:cubicBezTo>
                      <a:pt x="107" y="385"/>
                      <a:pt x="106" y="383"/>
                      <a:pt x="105" y="381"/>
                    </a:cubicBezTo>
                    <a:cubicBezTo>
                      <a:pt x="104" y="379"/>
                      <a:pt x="103" y="377"/>
                      <a:pt x="102" y="376"/>
                    </a:cubicBezTo>
                    <a:cubicBezTo>
                      <a:pt x="82" y="361"/>
                      <a:pt x="82" y="361"/>
                      <a:pt x="82" y="361"/>
                    </a:cubicBezTo>
                    <a:cubicBezTo>
                      <a:pt x="81" y="360"/>
                      <a:pt x="78" y="359"/>
                      <a:pt x="76" y="359"/>
                    </a:cubicBezTo>
                    <a:cubicBezTo>
                      <a:pt x="74" y="359"/>
                      <a:pt x="73" y="360"/>
                      <a:pt x="71" y="361"/>
                    </a:cubicBezTo>
                    <a:cubicBezTo>
                      <a:pt x="58" y="368"/>
                      <a:pt x="58" y="368"/>
                      <a:pt x="58" y="368"/>
                    </a:cubicBezTo>
                    <a:cubicBezTo>
                      <a:pt x="56" y="369"/>
                      <a:pt x="53" y="370"/>
                      <a:pt x="51" y="370"/>
                    </a:cubicBezTo>
                    <a:cubicBezTo>
                      <a:pt x="50" y="370"/>
                      <a:pt x="50" y="370"/>
                      <a:pt x="50" y="370"/>
                    </a:cubicBezTo>
                    <a:cubicBezTo>
                      <a:pt x="19" y="363"/>
                      <a:pt x="19" y="363"/>
                      <a:pt x="19" y="363"/>
                    </a:cubicBezTo>
                    <a:cubicBezTo>
                      <a:pt x="18" y="363"/>
                      <a:pt x="17" y="363"/>
                      <a:pt x="16" y="361"/>
                    </a:cubicBezTo>
                    <a:cubicBezTo>
                      <a:pt x="15" y="360"/>
                      <a:pt x="15" y="359"/>
                      <a:pt x="14" y="358"/>
                    </a:cubicBezTo>
                    <a:cubicBezTo>
                      <a:pt x="5" y="311"/>
                      <a:pt x="5" y="311"/>
                      <a:pt x="5" y="311"/>
                    </a:cubicBezTo>
                    <a:cubicBezTo>
                      <a:pt x="3" y="312"/>
                      <a:pt x="3" y="312"/>
                      <a:pt x="3" y="312"/>
                    </a:cubicBezTo>
                    <a:cubicBezTo>
                      <a:pt x="0" y="312"/>
                      <a:pt x="0" y="312"/>
                      <a:pt x="0" y="312"/>
                    </a:cubicBezTo>
                    <a:cubicBezTo>
                      <a:pt x="10" y="358"/>
                      <a:pt x="10" y="358"/>
                      <a:pt x="10" y="358"/>
                    </a:cubicBezTo>
                    <a:cubicBezTo>
                      <a:pt x="11" y="361"/>
                      <a:pt x="12" y="363"/>
                      <a:pt x="13" y="364"/>
                    </a:cubicBezTo>
                    <a:cubicBezTo>
                      <a:pt x="14" y="366"/>
                      <a:pt x="16" y="367"/>
                      <a:pt x="18" y="368"/>
                    </a:cubicBezTo>
                    <a:cubicBezTo>
                      <a:pt x="49" y="374"/>
                      <a:pt x="49" y="374"/>
                      <a:pt x="49" y="374"/>
                    </a:cubicBezTo>
                    <a:cubicBezTo>
                      <a:pt x="50" y="374"/>
                      <a:pt x="50" y="374"/>
                      <a:pt x="51" y="374"/>
                    </a:cubicBezTo>
                    <a:cubicBezTo>
                      <a:pt x="54" y="374"/>
                      <a:pt x="57" y="373"/>
                      <a:pt x="60" y="372"/>
                    </a:cubicBezTo>
                    <a:cubicBezTo>
                      <a:pt x="73" y="364"/>
                      <a:pt x="73" y="364"/>
                      <a:pt x="73" y="364"/>
                    </a:cubicBezTo>
                    <a:cubicBezTo>
                      <a:pt x="74" y="364"/>
                      <a:pt x="75" y="364"/>
                      <a:pt x="76" y="364"/>
                    </a:cubicBezTo>
                    <a:cubicBezTo>
                      <a:pt x="77" y="364"/>
                      <a:pt x="79" y="364"/>
                      <a:pt x="80" y="365"/>
                    </a:cubicBezTo>
                    <a:cubicBezTo>
                      <a:pt x="99" y="379"/>
                      <a:pt x="99" y="379"/>
                      <a:pt x="99" y="379"/>
                    </a:cubicBezTo>
                    <a:cubicBezTo>
                      <a:pt x="100" y="380"/>
                      <a:pt x="101" y="381"/>
                      <a:pt x="101" y="383"/>
                    </a:cubicBezTo>
                    <a:cubicBezTo>
                      <a:pt x="102" y="384"/>
                      <a:pt x="103" y="386"/>
                      <a:pt x="103" y="388"/>
                    </a:cubicBezTo>
                    <a:cubicBezTo>
                      <a:pt x="103" y="403"/>
                      <a:pt x="103" y="403"/>
                      <a:pt x="103" y="403"/>
                    </a:cubicBezTo>
                    <a:cubicBezTo>
                      <a:pt x="103" y="407"/>
                      <a:pt x="103" y="413"/>
                      <a:pt x="104" y="416"/>
                    </a:cubicBezTo>
                    <a:cubicBezTo>
                      <a:pt x="114" y="454"/>
                      <a:pt x="114" y="454"/>
                      <a:pt x="114" y="454"/>
                    </a:cubicBezTo>
                    <a:cubicBezTo>
                      <a:pt x="114" y="456"/>
                      <a:pt x="114" y="457"/>
                      <a:pt x="114" y="459"/>
                    </a:cubicBezTo>
                    <a:cubicBezTo>
                      <a:pt x="114" y="461"/>
                      <a:pt x="114" y="464"/>
                      <a:pt x="113" y="466"/>
                    </a:cubicBezTo>
                    <a:cubicBezTo>
                      <a:pt x="108" y="480"/>
                      <a:pt x="108" y="480"/>
                      <a:pt x="108" y="480"/>
                    </a:cubicBezTo>
                    <a:cubicBezTo>
                      <a:pt x="107" y="482"/>
                      <a:pt x="107" y="485"/>
                      <a:pt x="107" y="487"/>
                    </a:cubicBezTo>
                    <a:cubicBezTo>
                      <a:pt x="107" y="489"/>
                      <a:pt x="107" y="491"/>
                      <a:pt x="107" y="493"/>
                    </a:cubicBezTo>
                    <a:cubicBezTo>
                      <a:pt x="134" y="580"/>
                      <a:pt x="134" y="580"/>
                      <a:pt x="134" y="580"/>
                    </a:cubicBezTo>
                    <a:cubicBezTo>
                      <a:pt x="135" y="582"/>
                      <a:pt x="136" y="584"/>
                      <a:pt x="137" y="585"/>
                    </a:cubicBezTo>
                    <a:cubicBezTo>
                      <a:pt x="138" y="586"/>
                      <a:pt x="140" y="587"/>
                      <a:pt x="142" y="587"/>
                    </a:cubicBezTo>
                    <a:cubicBezTo>
                      <a:pt x="142" y="587"/>
                      <a:pt x="143" y="587"/>
                      <a:pt x="144" y="586"/>
                    </a:cubicBezTo>
                    <a:cubicBezTo>
                      <a:pt x="164" y="580"/>
                      <a:pt x="164" y="580"/>
                      <a:pt x="164" y="580"/>
                    </a:cubicBezTo>
                    <a:cubicBezTo>
                      <a:pt x="165" y="579"/>
                      <a:pt x="167" y="578"/>
                      <a:pt x="169" y="577"/>
                    </a:cubicBezTo>
                    <a:cubicBezTo>
                      <a:pt x="171" y="576"/>
                      <a:pt x="172" y="575"/>
                      <a:pt x="173" y="573"/>
                    </a:cubicBezTo>
                    <a:cubicBezTo>
                      <a:pt x="201" y="539"/>
                      <a:pt x="201" y="539"/>
                      <a:pt x="201" y="539"/>
                    </a:cubicBezTo>
                    <a:cubicBezTo>
                      <a:pt x="202" y="537"/>
                      <a:pt x="203" y="535"/>
                      <a:pt x="204" y="533"/>
                    </a:cubicBezTo>
                    <a:cubicBezTo>
                      <a:pt x="205" y="530"/>
                      <a:pt x="205" y="528"/>
                      <a:pt x="205" y="526"/>
                    </a:cubicBezTo>
                    <a:cubicBezTo>
                      <a:pt x="205" y="518"/>
                      <a:pt x="205" y="518"/>
                      <a:pt x="205" y="518"/>
                    </a:cubicBezTo>
                    <a:cubicBezTo>
                      <a:pt x="205" y="516"/>
                      <a:pt x="206" y="515"/>
                      <a:pt x="206" y="513"/>
                    </a:cubicBezTo>
                    <a:cubicBezTo>
                      <a:pt x="207" y="511"/>
                      <a:pt x="208" y="510"/>
                      <a:pt x="209" y="509"/>
                    </a:cubicBezTo>
                    <a:cubicBezTo>
                      <a:pt x="225" y="493"/>
                      <a:pt x="225" y="493"/>
                      <a:pt x="225" y="493"/>
                    </a:cubicBezTo>
                    <a:cubicBezTo>
                      <a:pt x="226" y="492"/>
                      <a:pt x="227" y="490"/>
                      <a:pt x="228" y="488"/>
                    </a:cubicBezTo>
                    <a:cubicBezTo>
                      <a:pt x="229" y="485"/>
                      <a:pt x="230" y="483"/>
                      <a:pt x="230" y="481"/>
                    </a:cubicBezTo>
                    <a:cubicBezTo>
                      <a:pt x="230" y="462"/>
                      <a:pt x="230" y="462"/>
                      <a:pt x="230" y="462"/>
                    </a:cubicBezTo>
                    <a:cubicBezTo>
                      <a:pt x="230" y="458"/>
                      <a:pt x="228" y="453"/>
                      <a:pt x="226" y="449"/>
                    </a:cubicBezTo>
                    <a:cubicBezTo>
                      <a:pt x="226" y="449"/>
                      <a:pt x="226" y="449"/>
                      <a:pt x="226" y="449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6" y="448"/>
                      <a:pt x="226" y="448"/>
                      <a:pt x="226" y="448"/>
                    </a:cubicBezTo>
                    <a:cubicBezTo>
                      <a:pt x="225" y="446"/>
                      <a:pt x="223" y="440"/>
                      <a:pt x="223" y="437"/>
                    </a:cubicBezTo>
                    <a:cubicBezTo>
                      <a:pt x="223" y="428"/>
                      <a:pt x="223" y="428"/>
                      <a:pt x="223" y="428"/>
                    </a:cubicBezTo>
                    <a:cubicBezTo>
                      <a:pt x="223" y="426"/>
                      <a:pt x="224" y="424"/>
                      <a:pt x="224" y="423"/>
                    </a:cubicBezTo>
                    <a:cubicBezTo>
                      <a:pt x="225" y="421"/>
                      <a:pt x="226" y="419"/>
                      <a:pt x="227" y="418"/>
                    </a:cubicBezTo>
                    <a:cubicBezTo>
                      <a:pt x="247" y="393"/>
                      <a:pt x="247" y="393"/>
                      <a:pt x="247" y="393"/>
                    </a:cubicBezTo>
                    <a:cubicBezTo>
                      <a:pt x="249" y="390"/>
                      <a:pt x="252" y="385"/>
                      <a:pt x="254" y="382"/>
                    </a:cubicBezTo>
                    <a:cubicBezTo>
                      <a:pt x="270" y="340"/>
                      <a:pt x="270" y="340"/>
                      <a:pt x="270" y="340"/>
                    </a:cubicBezTo>
                    <a:cubicBezTo>
                      <a:pt x="271" y="339"/>
                      <a:pt x="271" y="338"/>
                      <a:pt x="271" y="337"/>
                    </a:cubicBezTo>
                    <a:cubicBezTo>
                      <a:pt x="271" y="336"/>
                      <a:pt x="271" y="334"/>
                      <a:pt x="270" y="333"/>
                    </a:cubicBezTo>
                    <a:cubicBezTo>
                      <a:pt x="269" y="332"/>
                      <a:pt x="267" y="332"/>
                      <a:pt x="266" y="332"/>
                    </a:cubicBezTo>
                    <a:cubicBezTo>
                      <a:pt x="266" y="332"/>
                      <a:pt x="266" y="332"/>
                      <a:pt x="266" y="332"/>
                    </a:cubicBezTo>
                    <a:cubicBezTo>
                      <a:pt x="242" y="334"/>
                      <a:pt x="242" y="334"/>
                      <a:pt x="242" y="334"/>
                    </a:cubicBezTo>
                    <a:cubicBezTo>
                      <a:pt x="241" y="334"/>
                      <a:pt x="241" y="334"/>
                      <a:pt x="241" y="334"/>
                    </a:cubicBezTo>
                    <a:cubicBezTo>
                      <a:pt x="241" y="334"/>
                      <a:pt x="240" y="333"/>
                      <a:pt x="239" y="332"/>
                    </a:cubicBezTo>
                    <a:cubicBezTo>
                      <a:pt x="238" y="332"/>
                      <a:pt x="237" y="330"/>
                      <a:pt x="236" y="329"/>
                    </a:cubicBezTo>
                    <a:cubicBezTo>
                      <a:pt x="207" y="255"/>
                      <a:pt x="207" y="255"/>
                      <a:pt x="207" y="255"/>
                    </a:cubicBezTo>
                    <a:cubicBezTo>
                      <a:pt x="206" y="254"/>
                      <a:pt x="206" y="253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1"/>
                      <a:pt x="206" y="251"/>
                      <a:pt x="206" y="251"/>
                    </a:cubicBezTo>
                    <a:cubicBezTo>
                      <a:pt x="206" y="252"/>
                      <a:pt x="206" y="252"/>
                      <a:pt x="206" y="252"/>
                    </a:cubicBezTo>
                    <a:cubicBezTo>
                      <a:pt x="206" y="252"/>
                      <a:pt x="207" y="252"/>
                      <a:pt x="208" y="253"/>
                    </a:cubicBezTo>
                    <a:cubicBezTo>
                      <a:pt x="209" y="254"/>
                      <a:pt x="210" y="255"/>
                      <a:pt x="210" y="256"/>
                    </a:cubicBezTo>
                    <a:cubicBezTo>
                      <a:pt x="230" y="301"/>
                      <a:pt x="230" y="301"/>
                      <a:pt x="230" y="301"/>
                    </a:cubicBezTo>
                    <a:cubicBezTo>
                      <a:pt x="232" y="305"/>
                      <a:pt x="235" y="309"/>
                      <a:pt x="237" y="312"/>
                    </a:cubicBezTo>
                    <a:cubicBezTo>
                      <a:pt x="246" y="321"/>
                      <a:pt x="246" y="321"/>
                      <a:pt x="246" y="321"/>
                    </a:cubicBezTo>
                    <a:cubicBezTo>
                      <a:pt x="248" y="322"/>
                      <a:pt x="249" y="323"/>
                      <a:pt x="251" y="324"/>
                    </a:cubicBezTo>
                    <a:cubicBezTo>
                      <a:pt x="253" y="325"/>
                      <a:pt x="255" y="325"/>
                      <a:pt x="257" y="325"/>
                    </a:cubicBezTo>
                    <a:cubicBezTo>
                      <a:pt x="264" y="325"/>
                      <a:pt x="264" y="325"/>
                      <a:pt x="264" y="325"/>
                    </a:cubicBezTo>
                    <a:cubicBezTo>
                      <a:pt x="266" y="325"/>
                      <a:pt x="268" y="324"/>
                      <a:pt x="270" y="323"/>
                    </a:cubicBezTo>
                    <a:cubicBezTo>
                      <a:pt x="271" y="322"/>
                      <a:pt x="273" y="321"/>
                      <a:pt x="274" y="319"/>
                    </a:cubicBezTo>
                    <a:cubicBezTo>
                      <a:pt x="299" y="283"/>
                      <a:pt x="299" y="283"/>
                      <a:pt x="299" y="283"/>
                    </a:cubicBezTo>
                    <a:cubicBezTo>
                      <a:pt x="300" y="282"/>
                      <a:pt x="301" y="280"/>
                      <a:pt x="301" y="278"/>
                    </a:cubicBezTo>
                    <a:cubicBezTo>
                      <a:pt x="301" y="276"/>
                      <a:pt x="299" y="273"/>
                      <a:pt x="297" y="272"/>
                    </a:cubicBezTo>
                    <a:cubicBezTo>
                      <a:pt x="293" y="269"/>
                      <a:pt x="293" y="269"/>
                      <a:pt x="293" y="269"/>
                    </a:cubicBezTo>
                    <a:cubicBezTo>
                      <a:pt x="291" y="268"/>
                      <a:pt x="289" y="267"/>
                      <a:pt x="288" y="266"/>
                    </a:cubicBezTo>
                    <a:cubicBezTo>
                      <a:pt x="286" y="266"/>
                      <a:pt x="284" y="265"/>
                      <a:pt x="282" y="265"/>
                    </a:cubicBezTo>
                    <a:cubicBezTo>
                      <a:pt x="279" y="265"/>
                      <a:pt x="279" y="265"/>
                      <a:pt x="279" y="265"/>
                    </a:cubicBezTo>
                    <a:cubicBezTo>
                      <a:pt x="278" y="265"/>
                      <a:pt x="276" y="265"/>
                      <a:pt x="275" y="264"/>
                    </a:cubicBezTo>
                    <a:cubicBezTo>
                      <a:pt x="273" y="264"/>
                      <a:pt x="272" y="263"/>
                      <a:pt x="271" y="262"/>
                    </a:cubicBezTo>
                    <a:cubicBezTo>
                      <a:pt x="253" y="243"/>
                      <a:pt x="253" y="243"/>
                      <a:pt x="253" y="243"/>
                    </a:cubicBezTo>
                    <a:cubicBezTo>
                      <a:pt x="252" y="242"/>
                      <a:pt x="251" y="241"/>
                      <a:pt x="251" y="240"/>
                    </a:cubicBezTo>
                    <a:cubicBezTo>
                      <a:pt x="251" y="239"/>
                      <a:pt x="252" y="238"/>
                      <a:pt x="252" y="237"/>
                    </a:cubicBezTo>
                    <a:cubicBezTo>
                      <a:pt x="252" y="237"/>
                      <a:pt x="252" y="237"/>
                      <a:pt x="252" y="237"/>
                    </a:cubicBezTo>
                    <a:cubicBezTo>
                      <a:pt x="253" y="237"/>
                      <a:pt x="253" y="237"/>
                      <a:pt x="253" y="237"/>
                    </a:cubicBezTo>
                    <a:cubicBezTo>
                      <a:pt x="253" y="236"/>
                      <a:pt x="255" y="235"/>
                      <a:pt x="256" y="235"/>
                    </a:cubicBezTo>
                    <a:cubicBezTo>
                      <a:pt x="256" y="235"/>
                      <a:pt x="257" y="235"/>
                      <a:pt x="258" y="236"/>
                    </a:cubicBezTo>
                    <a:cubicBezTo>
                      <a:pt x="293" y="263"/>
                      <a:pt x="293" y="263"/>
                      <a:pt x="293" y="263"/>
                    </a:cubicBezTo>
                    <a:cubicBezTo>
                      <a:pt x="295" y="264"/>
                      <a:pt x="296" y="265"/>
                      <a:pt x="298" y="266"/>
                    </a:cubicBezTo>
                    <a:cubicBezTo>
                      <a:pt x="300" y="267"/>
                      <a:pt x="302" y="267"/>
                      <a:pt x="304" y="267"/>
                    </a:cubicBezTo>
                    <a:cubicBezTo>
                      <a:pt x="321" y="267"/>
                      <a:pt x="321" y="267"/>
                      <a:pt x="321" y="267"/>
                    </a:cubicBezTo>
                    <a:cubicBezTo>
                      <a:pt x="322" y="267"/>
                      <a:pt x="323" y="267"/>
                      <a:pt x="325" y="268"/>
                    </a:cubicBezTo>
                    <a:cubicBezTo>
                      <a:pt x="326" y="269"/>
                      <a:pt x="327" y="270"/>
                      <a:pt x="328" y="271"/>
                    </a:cubicBezTo>
                    <a:cubicBezTo>
                      <a:pt x="339" y="282"/>
                      <a:pt x="339" y="282"/>
                      <a:pt x="339" y="282"/>
                    </a:cubicBezTo>
                    <a:cubicBezTo>
                      <a:pt x="341" y="284"/>
                      <a:pt x="344" y="285"/>
                      <a:pt x="346" y="285"/>
                    </a:cubicBezTo>
                    <a:cubicBezTo>
                      <a:pt x="347" y="285"/>
                      <a:pt x="348" y="285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49" y="284"/>
                      <a:pt x="349" y="284"/>
                    </a:cubicBezTo>
                    <a:cubicBezTo>
                      <a:pt x="349" y="284"/>
                      <a:pt x="350" y="284"/>
                      <a:pt x="350" y="285"/>
                    </a:cubicBezTo>
                    <a:cubicBezTo>
                      <a:pt x="351" y="285"/>
                      <a:pt x="351" y="286"/>
                      <a:pt x="352" y="287"/>
                    </a:cubicBezTo>
                    <a:cubicBezTo>
                      <a:pt x="376" y="350"/>
                      <a:pt x="376" y="350"/>
                      <a:pt x="376" y="350"/>
                    </a:cubicBezTo>
                    <a:cubicBezTo>
                      <a:pt x="376" y="351"/>
                      <a:pt x="377" y="352"/>
                      <a:pt x="377" y="352"/>
                    </a:cubicBezTo>
                    <a:cubicBezTo>
                      <a:pt x="378" y="353"/>
                      <a:pt x="379" y="354"/>
                      <a:pt x="380" y="354"/>
                    </a:cubicBezTo>
                    <a:cubicBezTo>
                      <a:pt x="381" y="354"/>
                      <a:pt x="382" y="353"/>
                      <a:pt x="383" y="352"/>
                    </a:cubicBezTo>
                    <a:cubicBezTo>
                      <a:pt x="384" y="352"/>
                      <a:pt x="384" y="351"/>
                      <a:pt x="384" y="350"/>
                    </a:cubicBezTo>
                    <a:cubicBezTo>
                      <a:pt x="390" y="336"/>
                      <a:pt x="390" y="336"/>
                      <a:pt x="390" y="336"/>
                    </a:cubicBezTo>
                    <a:cubicBezTo>
                      <a:pt x="391" y="332"/>
                      <a:pt x="392" y="327"/>
                      <a:pt x="392" y="324"/>
                    </a:cubicBezTo>
                    <a:cubicBezTo>
                      <a:pt x="392" y="323"/>
                      <a:pt x="392" y="323"/>
                      <a:pt x="392" y="322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21"/>
                      <a:pt x="392" y="321"/>
                      <a:pt x="392" y="321"/>
                    </a:cubicBezTo>
                    <a:cubicBezTo>
                      <a:pt x="392" y="317"/>
                      <a:pt x="393" y="313"/>
                      <a:pt x="394" y="311"/>
                    </a:cubicBezTo>
                    <a:cubicBezTo>
                      <a:pt x="418" y="279"/>
                      <a:pt x="418" y="279"/>
                      <a:pt x="418" y="279"/>
                    </a:cubicBezTo>
                    <a:cubicBezTo>
                      <a:pt x="419" y="278"/>
                      <a:pt x="419" y="278"/>
                      <a:pt x="420" y="278"/>
                    </a:cubicBezTo>
                    <a:cubicBezTo>
                      <a:pt x="420" y="278"/>
                      <a:pt x="421" y="278"/>
                      <a:pt x="422" y="279"/>
                    </a:cubicBezTo>
                    <a:cubicBezTo>
                      <a:pt x="456" y="325"/>
                      <a:pt x="456" y="325"/>
                      <a:pt x="456" y="325"/>
                    </a:cubicBezTo>
                    <a:cubicBezTo>
                      <a:pt x="457" y="326"/>
                      <a:pt x="458" y="328"/>
                      <a:pt x="458" y="330"/>
                    </a:cubicBezTo>
                    <a:cubicBezTo>
                      <a:pt x="459" y="332"/>
                      <a:pt x="459" y="334"/>
                      <a:pt x="459" y="336"/>
                    </a:cubicBezTo>
                    <a:cubicBezTo>
                      <a:pt x="459" y="340"/>
                      <a:pt x="459" y="340"/>
                      <a:pt x="459" y="340"/>
                    </a:cubicBezTo>
                    <a:cubicBezTo>
                      <a:pt x="459" y="344"/>
                      <a:pt x="460" y="350"/>
                      <a:pt x="462" y="353"/>
                    </a:cubicBezTo>
                    <a:cubicBezTo>
                      <a:pt x="473" y="376"/>
                      <a:pt x="473" y="376"/>
                      <a:pt x="473" y="376"/>
                    </a:cubicBezTo>
                    <a:cubicBezTo>
                      <a:pt x="474" y="378"/>
                      <a:pt x="475" y="380"/>
                      <a:pt x="477" y="381"/>
                    </a:cubicBezTo>
                    <a:cubicBezTo>
                      <a:pt x="478" y="383"/>
                      <a:pt x="480" y="384"/>
                      <a:pt x="481" y="385"/>
                    </a:cubicBezTo>
                    <a:cubicBezTo>
                      <a:pt x="486" y="388"/>
                      <a:pt x="486" y="388"/>
                      <a:pt x="486" y="388"/>
                    </a:cubicBezTo>
                    <a:cubicBezTo>
                      <a:pt x="487" y="388"/>
                      <a:pt x="488" y="388"/>
                      <a:pt x="489" y="388"/>
                    </a:cubicBezTo>
                    <a:cubicBezTo>
                      <a:pt x="490" y="388"/>
                      <a:pt x="491" y="388"/>
                      <a:pt x="491" y="387"/>
                    </a:cubicBezTo>
                    <a:cubicBezTo>
                      <a:pt x="492" y="387"/>
                      <a:pt x="492" y="386"/>
                      <a:pt x="492" y="385"/>
                    </a:cubicBezTo>
                    <a:cubicBezTo>
                      <a:pt x="492" y="384"/>
                      <a:pt x="492" y="383"/>
                      <a:pt x="491" y="382"/>
                    </a:cubicBezTo>
                    <a:cubicBezTo>
                      <a:pt x="476" y="352"/>
                      <a:pt x="476" y="352"/>
                      <a:pt x="476" y="352"/>
                    </a:cubicBezTo>
                    <a:cubicBezTo>
                      <a:pt x="475" y="350"/>
                      <a:pt x="473" y="344"/>
                      <a:pt x="473" y="341"/>
                    </a:cubicBezTo>
                    <a:cubicBezTo>
                      <a:pt x="473" y="337"/>
                      <a:pt x="473" y="337"/>
                      <a:pt x="473" y="337"/>
                    </a:cubicBezTo>
                    <a:cubicBezTo>
                      <a:pt x="473" y="336"/>
                      <a:pt x="474" y="335"/>
                      <a:pt x="474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4" y="335"/>
                      <a:pt x="474" y="335"/>
                      <a:pt x="474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4"/>
                      <a:pt x="473" y="334"/>
                      <a:pt x="473" y="334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5"/>
                      <a:pt x="473" y="335"/>
                      <a:pt x="473" y="335"/>
                    </a:cubicBezTo>
                    <a:cubicBezTo>
                      <a:pt x="473" y="336"/>
                      <a:pt x="473" y="336"/>
                      <a:pt x="473" y="336"/>
                    </a:cubicBezTo>
                    <a:cubicBezTo>
                      <a:pt x="486" y="352"/>
                      <a:pt x="486" y="352"/>
                      <a:pt x="486" y="352"/>
                    </a:cubicBezTo>
                    <a:cubicBezTo>
                      <a:pt x="487" y="353"/>
                      <a:pt x="489" y="354"/>
                      <a:pt x="491" y="354"/>
                    </a:cubicBezTo>
                    <a:cubicBezTo>
                      <a:pt x="493" y="354"/>
                      <a:pt x="495" y="353"/>
                      <a:pt x="496" y="351"/>
                    </a:cubicBezTo>
                    <a:cubicBezTo>
                      <a:pt x="506" y="334"/>
                      <a:pt x="506" y="334"/>
                      <a:pt x="506" y="334"/>
                    </a:cubicBezTo>
                    <a:cubicBezTo>
                      <a:pt x="507" y="332"/>
                      <a:pt x="508" y="330"/>
                      <a:pt x="508" y="328"/>
                    </a:cubicBezTo>
                    <a:cubicBezTo>
                      <a:pt x="508" y="326"/>
                      <a:pt x="507" y="323"/>
                      <a:pt x="506" y="321"/>
                    </a:cubicBezTo>
                    <a:cubicBezTo>
                      <a:pt x="493" y="300"/>
                      <a:pt x="493" y="300"/>
                      <a:pt x="493" y="300"/>
                    </a:cubicBezTo>
                    <a:cubicBezTo>
                      <a:pt x="491" y="298"/>
                      <a:pt x="490" y="292"/>
                      <a:pt x="490" y="289"/>
                    </a:cubicBezTo>
                    <a:cubicBezTo>
                      <a:pt x="490" y="282"/>
                      <a:pt x="490" y="282"/>
                      <a:pt x="490" y="282"/>
                    </a:cubicBezTo>
                    <a:cubicBezTo>
                      <a:pt x="490" y="281"/>
                      <a:pt x="490" y="280"/>
                      <a:pt x="491" y="279"/>
                    </a:cubicBezTo>
                    <a:cubicBezTo>
                      <a:pt x="491" y="278"/>
                      <a:pt x="492" y="278"/>
                      <a:pt x="493" y="278"/>
                    </a:cubicBezTo>
                    <a:cubicBezTo>
                      <a:pt x="510" y="278"/>
                      <a:pt x="510" y="278"/>
                      <a:pt x="510" y="278"/>
                    </a:cubicBezTo>
                    <a:cubicBezTo>
                      <a:pt x="512" y="278"/>
                      <a:pt x="514" y="277"/>
                      <a:pt x="515" y="275"/>
                    </a:cubicBezTo>
                    <a:cubicBezTo>
                      <a:pt x="517" y="274"/>
                      <a:pt x="517" y="271"/>
                      <a:pt x="517" y="269"/>
                    </a:cubicBezTo>
                    <a:cubicBezTo>
                      <a:pt x="517" y="269"/>
                      <a:pt x="517" y="269"/>
                      <a:pt x="517" y="269"/>
                    </a:cubicBezTo>
                    <a:cubicBezTo>
                      <a:pt x="516" y="242"/>
                      <a:pt x="516" y="242"/>
                      <a:pt x="516" y="242"/>
                    </a:cubicBezTo>
                    <a:cubicBezTo>
                      <a:pt x="516" y="240"/>
                      <a:pt x="515" y="237"/>
                      <a:pt x="515" y="235"/>
                    </a:cubicBezTo>
                    <a:cubicBezTo>
                      <a:pt x="514" y="233"/>
                      <a:pt x="513" y="231"/>
                      <a:pt x="511" y="230"/>
                    </a:cubicBezTo>
                    <a:cubicBezTo>
                      <a:pt x="496" y="214"/>
                      <a:pt x="496" y="214"/>
                      <a:pt x="496" y="214"/>
                    </a:cubicBezTo>
                    <a:cubicBezTo>
                      <a:pt x="494" y="212"/>
                      <a:pt x="491" y="208"/>
                      <a:pt x="490" y="205"/>
                    </a:cubicBezTo>
                    <a:cubicBezTo>
                      <a:pt x="490" y="202"/>
                      <a:pt x="490" y="202"/>
                      <a:pt x="490" y="202"/>
                    </a:cubicBezTo>
                    <a:cubicBezTo>
                      <a:pt x="489" y="200"/>
                      <a:pt x="488" y="198"/>
                      <a:pt x="487" y="197"/>
                    </a:cubicBezTo>
                    <a:cubicBezTo>
                      <a:pt x="485" y="196"/>
                      <a:pt x="484" y="195"/>
                      <a:pt x="482" y="195"/>
                    </a:cubicBezTo>
                    <a:cubicBezTo>
                      <a:pt x="481" y="195"/>
                      <a:pt x="481" y="195"/>
                      <a:pt x="481" y="195"/>
                    </a:cubicBezTo>
                    <a:cubicBezTo>
                      <a:pt x="480" y="195"/>
                      <a:pt x="480" y="195"/>
                      <a:pt x="480" y="195"/>
                    </a:cubicBezTo>
                    <a:cubicBezTo>
                      <a:pt x="479" y="195"/>
                      <a:pt x="479" y="195"/>
                      <a:pt x="478" y="195"/>
                    </a:cubicBezTo>
                    <a:cubicBezTo>
                      <a:pt x="477" y="194"/>
                      <a:pt x="476" y="193"/>
                      <a:pt x="475" y="192"/>
                    </a:cubicBezTo>
                    <a:cubicBezTo>
                      <a:pt x="474" y="191"/>
                      <a:pt x="474" y="191"/>
                      <a:pt x="474" y="191"/>
                    </a:cubicBezTo>
                    <a:cubicBezTo>
                      <a:pt x="473" y="189"/>
                      <a:pt x="473" y="186"/>
                      <a:pt x="473" y="184"/>
                    </a:cubicBezTo>
                    <a:cubicBezTo>
                      <a:pt x="473" y="183"/>
                      <a:pt x="473" y="182"/>
                      <a:pt x="473" y="181"/>
                    </a:cubicBezTo>
                    <a:cubicBezTo>
                      <a:pt x="473" y="181"/>
                      <a:pt x="473" y="180"/>
                      <a:pt x="474" y="180"/>
                    </a:cubicBezTo>
                    <a:cubicBezTo>
                      <a:pt x="475" y="179"/>
                      <a:pt x="475" y="179"/>
                      <a:pt x="475" y="179"/>
                    </a:cubicBezTo>
                    <a:cubicBezTo>
                      <a:pt x="475" y="179"/>
                      <a:pt x="475" y="179"/>
                      <a:pt x="476" y="180"/>
                    </a:cubicBezTo>
                    <a:cubicBezTo>
                      <a:pt x="483" y="184"/>
                      <a:pt x="483" y="184"/>
                      <a:pt x="483" y="184"/>
                    </a:cubicBezTo>
                    <a:cubicBezTo>
                      <a:pt x="485" y="185"/>
                      <a:pt x="489" y="188"/>
                      <a:pt x="491" y="190"/>
                    </a:cubicBezTo>
                    <a:cubicBezTo>
                      <a:pt x="512" y="214"/>
                      <a:pt x="512" y="214"/>
                      <a:pt x="512" y="214"/>
                    </a:cubicBezTo>
                    <a:cubicBezTo>
                      <a:pt x="513" y="215"/>
                      <a:pt x="515" y="216"/>
                      <a:pt x="517" y="216"/>
                    </a:cubicBezTo>
                    <a:cubicBezTo>
                      <a:pt x="519" y="216"/>
                      <a:pt x="521" y="215"/>
                      <a:pt x="521" y="213"/>
                    </a:cubicBezTo>
                    <a:cubicBezTo>
                      <a:pt x="522" y="212"/>
                      <a:pt x="522" y="211"/>
                      <a:pt x="522" y="210"/>
                    </a:cubicBezTo>
                    <a:cubicBezTo>
                      <a:pt x="522" y="207"/>
                      <a:pt x="521" y="204"/>
                      <a:pt x="520" y="202"/>
                    </a:cubicBezTo>
                    <a:cubicBezTo>
                      <a:pt x="505" y="185"/>
                      <a:pt x="505" y="185"/>
                      <a:pt x="505" y="185"/>
                    </a:cubicBezTo>
                    <a:cubicBezTo>
                      <a:pt x="504" y="184"/>
                      <a:pt x="503" y="182"/>
                      <a:pt x="503" y="180"/>
                    </a:cubicBezTo>
                    <a:cubicBezTo>
                      <a:pt x="503" y="179"/>
                      <a:pt x="503" y="178"/>
                      <a:pt x="504" y="177"/>
                    </a:cubicBezTo>
                    <a:cubicBezTo>
                      <a:pt x="508" y="167"/>
                      <a:pt x="508" y="167"/>
                      <a:pt x="508" y="167"/>
                    </a:cubicBezTo>
                    <a:cubicBezTo>
                      <a:pt x="509" y="165"/>
                      <a:pt x="509" y="161"/>
                      <a:pt x="509" y="158"/>
                    </a:cubicBezTo>
                    <a:cubicBezTo>
                      <a:pt x="509" y="157"/>
                      <a:pt x="509" y="155"/>
                      <a:pt x="509" y="154"/>
                    </a:cubicBezTo>
                    <a:cubicBezTo>
                      <a:pt x="504" y="129"/>
                      <a:pt x="504" y="129"/>
                      <a:pt x="504" y="129"/>
                    </a:cubicBezTo>
                    <a:cubicBezTo>
                      <a:pt x="503" y="127"/>
                      <a:pt x="502" y="125"/>
                      <a:pt x="501" y="123"/>
                    </a:cubicBezTo>
                    <a:cubicBezTo>
                      <a:pt x="499" y="121"/>
                      <a:pt x="497" y="120"/>
                      <a:pt x="495" y="120"/>
                    </a:cubicBezTo>
                    <a:cubicBezTo>
                      <a:pt x="485" y="118"/>
                      <a:pt x="485" y="118"/>
                      <a:pt x="485" y="118"/>
                    </a:cubicBezTo>
                    <a:cubicBezTo>
                      <a:pt x="484" y="118"/>
                      <a:pt x="483" y="117"/>
                      <a:pt x="482" y="116"/>
                    </a:cubicBezTo>
                    <a:cubicBezTo>
                      <a:pt x="481" y="115"/>
                      <a:pt x="480" y="114"/>
                      <a:pt x="479" y="112"/>
                    </a:cubicBezTo>
                    <a:cubicBezTo>
                      <a:pt x="474" y="96"/>
                      <a:pt x="474" y="96"/>
                      <a:pt x="474" y="96"/>
                    </a:cubicBezTo>
                    <a:cubicBezTo>
                      <a:pt x="474" y="96"/>
                      <a:pt x="474" y="95"/>
                      <a:pt x="474" y="94"/>
                    </a:cubicBezTo>
                    <a:cubicBezTo>
                      <a:pt x="474" y="92"/>
                      <a:pt x="475" y="91"/>
                      <a:pt x="476" y="90"/>
                    </a:cubicBezTo>
                    <a:cubicBezTo>
                      <a:pt x="495" y="79"/>
                      <a:pt x="495" y="79"/>
                      <a:pt x="495" y="79"/>
                    </a:cubicBezTo>
                    <a:cubicBezTo>
                      <a:pt x="496" y="79"/>
                      <a:pt x="496" y="79"/>
                      <a:pt x="496" y="79"/>
                    </a:cubicBezTo>
                    <a:cubicBezTo>
                      <a:pt x="498" y="78"/>
                      <a:pt x="499" y="79"/>
                      <a:pt x="500" y="81"/>
                    </a:cubicBezTo>
                    <a:cubicBezTo>
                      <a:pt x="533" y="131"/>
                      <a:pt x="533" y="131"/>
                      <a:pt x="533" y="131"/>
                    </a:cubicBezTo>
                    <a:cubicBezTo>
                      <a:pt x="534" y="133"/>
                      <a:pt x="536" y="134"/>
                      <a:pt x="538" y="134"/>
                    </a:cubicBezTo>
                    <a:cubicBezTo>
                      <a:pt x="539" y="134"/>
                      <a:pt x="540" y="133"/>
                      <a:pt x="541" y="133"/>
                    </a:cubicBezTo>
                    <a:cubicBezTo>
                      <a:pt x="541" y="132"/>
                      <a:pt x="542" y="131"/>
                      <a:pt x="543" y="130"/>
                    </a:cubicBezTo>
                    <a:cubicBezTo>
                      <a:pt x="544" y="129"/>
                      <a:pt x="544" y="127"/>
                      <a:pt x="544" y="125"/>
                    </a:cubicBezTo>
                    <a:cubicBezTo>
                      <a:pt x="544" y="122"/>
                      <a:pt x="543" y="120"/>
                      <a:pt x="542" y="118"/>
                    </a:cubicBezTo>
                    <a:cubicBezTo>
                      <a:pt x="522" y="84"/>
                      <a:pt x="522" y="84"/>
                      <a:pt x="522" y="84"/>
                    </a:cubicBezTo>
                    <a:cubicBezTo>
                      <a:pt x="522" y="84"/>
                      <a:pt x="522" y="83"/>
                      <a:pt x="522" y="82"/>
                    </a:cubicBezTo>
                    <a:cubicBezTo>
                      <a:pt x="522" y="81"/>
                      <a:pt x="522" y="80"/>
                      <a:pt x="523" y="80"/>
                    </a:cubicBezTo>
                    <a:cubicBezTo>
                      <a:pt x="526" y="78"/>
                      <a:pt x="526" y="78"/>
                      <a:pt x="526" y="78"/>
                    </a:cubicBezTo>
                    <a:cubicBezTo>
                      <a:pt x="528" y="78"/>
                      <a:pt x="530" y="76"/>
                      <a:pt x="529" y="73"/>
                    </a:cubicBezTo>
                    <a:cubicBezTo>
                      <a:pt x="529" y="72"/>
                      <a:pt x="529" y="70"/>
                      <a:pt x="527" y="69"/>
                    </a:cubicBezTo>
                    <a:cubicBezTo>
                      <a:pt x="514" y="55"/>
                      <a:pt x="514" y="55"/>
                      <a:pt x="514" y="55"/>
                    </a:cubicBezTo>
                    <a:cubicBezTo>
                      <a:pt x="513" y="54"/>
                      <a:pt x="511" y="53"/>
                      <a:pt x="509" y="52"/>
                    </a:cubicBezTo>
                    <a:cubicBezTo>
                      <a:pt x="508" y="51"/>
                      <a:pt x="506" y="50"/>
                      <a:pt x="504" y="49"/>
                    </a:cubicBezTo>
                    <a:cubicBezTo>
                      <a:pt x="393" y="22"/>
                      <a:pt x="393" y="22"/>
                      <a:pt x="393" y="22"/>
                    </a:cubicBezTo>
                    <a:cubicBezTo>
                      <a:pt x="392" y="22"/>
                      <a:pt x="391" y="21"/>
                      <a:pt x="390" y="21"/>
                    </a:cubicBezTo>
                    <a:cubicBezTo>
                      <a:pt x="389" y="21"/>
                      <a:pt x="387" y="22"/>
                      <a:pt x="386" y="22"/>
                    </a:cubicBezTo>
                    <a:cubicBezTo>
                      <a:pt x="385" y="23"/>
                      <a:pt x="383" y="24"/>
                      <a:pt x="383" y="25"/>
                    </a:cubicBezTo>
                    <a:cubicBezTo>
                      <a:pt x="382" y="26"/>
                      <a:pt x="381" y="26"/>
                      <a:pt x="379" y="26"/>
                    </a:cubicBezTo>
                    <a:cubicBezTo>
                      <a:pt x="378" y="26"/>
                      <a:pt x="378" y="26"/>
                      <a:pt x="377" y="26"/>
                    </a:cubicBezTo>
                    <a:cubicBezTo>
                      <a:pt x="299" y="0"/>
                      <a:pt x="299" y="0"/>
                      <a:pt x="299" y="0"/>
                    </a:cubicBezTo>
                    <a:cubicBezTo>
                      <a:pt x="298" y="0"/>
                      <a:pt x="297" y="0"/>
                      <a:pt x="296" y="0"/>
                    </a:cubicBezTo>
                    <a:cubicBezTo>
                      <a:pt x="295" y="0"/>
                      <a:pt x="294" y="0"/>
                      <a:pt x="293" y="1"/>
                    </a:cubicBezTo>
                    <a:cubicBezTo>
                      <a:pt x="292" y="2"/>
                      <a:pt x="291" y="4"/>
                      <a:pt x="291" y="5"/>
                    </a:cubicBezTo>
                    <a:cubicBezTo>
                      <a:pt x="291" y="6"/>
                      <a:pt x="291" y="8"/>
                      <a:pt x="290" y="10"/>
                    </a:cubicBezTo>
                    <a:cubicBezTo>
                      <a:pt x="290" y="11"/>
                      <a:pt x="289" y="13"/>
                      <a:pt x="288" y="15"/>
                    </a:cubicBezTo>
                    <a:cubicBezTo>
                      <a:pt x="282" y="28"/>
                      <a:pt x="282" y="28"/>
                      <a:pt x="282" y="28"/>
                    </a:cubicBezTo>
                    <a:cubicBezTo>
                      <a:pt x="281" y="31"/>
                      <a:pt x="277" y="34"/>
                      <a:pt x="275" y="36"/>
                    </a:cubicBezTo>
                    <a:cubicBezTo>
                      <a:pt x="265" y="42"/>
                      <a:pt x="265" y="42"/>
                      <a:pt x="265" y="42"/>
                    </a:cubicBezTo>
                    <a:cubicBezTo>
                      <a:pt x="264" y="43"/>
                      <a:pt x="262" y="44"/>
                      <a:pt x="260" y="44"/>
                    </a:cubicBezTo>
                    <a:cubicBezTo>
                      <a:pt x="259" y="45"/>
                      <a:pt x="257" y="45"/>
                      <a:pt x="256" y="45"/>
                    </a:cubicBezTo>
                    <a:cubicBezTo>
                      <a:pt x="221" y="45"/>
                      <a:pt x="221" y="45"/>
                      <a:pt x="221" y="45"/>
                    </a:cubicBezTo>
                    <a:cubicBezTo>
                      <a:pt x="219" y="45"/>
                      <a:pt x="217" y="46"/>
                      <a:pt x="215" y="47"/>
                    </a:cubicBezTo>
                    <a:cubicBezTo>
                      <a:pt x="214" y="48"/>
                      <a:pt x="212" y="50"/>
                      <a:pt x="212" y="52"/>
                    </a:cubicBezTo>
                    <a:cubicBezTo>
                      <a:pt x="211" y="53"/>
                      <a:pt x="210" y="54"/>
                      <a:pt x="209" y="54"/>
                    </a:cubicBezTo>
                    <a:cubicBezTo>
                      <a:pt x="209" y="54"/>
                      <a:pt x="209" y="54"/>
                      <a:pt x="208" y="54"/>
                    </a:cubicBezTo>
                    <a:cubicBezTo>
                      <a:pt x="199" y="48"/>
                      <a:pt x="199" y="48"/>
                      <a:pt x="199" y="48"/>
                    </a:cubicBezTo>
                    <a:cubicBezTo>
                      <a:pt x="198" y="48"/>
                      <a:pt x="198" y="47"/>
                      <a:pt x="198" y="47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8" y="47"/>
                      <a:pt x="198" y="47"/>
                      <a:pt x="198" y="47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8" y="48"/>
                      <a:pt x="198" y="48"/>
                      <a:pt x="198" y="48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8" y="49"/>
                      <a:pt x="198" y="49"/>
                      <a:pt x="198" y="49"/>
                    </a:cubicBezTo>
                    <a:cubicBezTo>
                      <a:pt x="197" y="48"/>
                      <a:pt x="197" y="48"/>
                      <a:pt x="197" y="48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49"/>
                      <a:pt x="197" y="49"/>
                      <a:pt x="197" y="49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7" y="50"/>
                      <a:pt x="197" y="50"/>
                      <a:pt x="197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198" y="50"/>
                      <a:pt x="198" y="50"/>
                      <a:pt x="198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1" y="50"/>
                      <a:pt x="201" y="50"/>
                      <a:pt x="201" y="50"/>
                    </a:cubicBezTo>
                    <a:cubicBezTo>
                      <a:pt x="203" y="50"/>
                      <a:pt x="205" y="49"/>
                      <a:pt x="206" y="49"/>
                    </a:cubicBezTo>
                    <a:cubicBezTo>
                      <a:pt x="208" y="48"/>
                      <a:pt x="209" y="47"/>
                      <a:pt x="210" y="46"/>
                    </a:cubicBezTo>
                    <a:cubicBezTo>
                      <a:pt x="210" y="45"/>
                      <a:pt x="211" y="44"/>
                      <a:pt x="211" y="43"/>
                    </a:cubicBezTo>
                    <a:cubicBezTo>
                      <a:pt x="211" y="42"/>
                      <a:pt x="210" y="41"/>
                      <a:pt x="209" y="40"/>
                    </a:cubicBezTo>
                    <a:cubicBezTo>
                      <a:pt x="208" y="39"/>
                      <a:pt x="207" y="38"/>
                      <a:pt x="206" y="38"/>
                    </a:cubicBezTo>
                    <a:cubicBezTo>
                      <a:pt x="197" y="35"/>
                      <a:pt x="197" y="35"/>
                      <a:pt x="197" y="35"/>
                    </a:cubicBezTo>
                    <a:cubicBezTo>
                      <a:pt x="195" y="35"/>
                      <a:pt x="190" y="33"/>
                      <a:pt x="188" y="31"/>
                    </a:cubicBezTo>
                    <a:cubicBezTo>
                      <a:pt x="183" y="28"/>
                      <a:pt x="183" y="28"/>
                      <a:pt x="183" y="28"/>
                    </a:cubicBezTo>
                    <a:cubicBezTo>
                      <a:pt x="181" y="27"/>
                      <a:pt x="180" y="26"/>
                      <a:pt x="178" y="26"/>
                    </a:cubicBezTo>
                    <a:cubicBezTo>
                      <a:pt x="176" y="26"/>
                      <a:pt x="173" y="27"/>
                      <a:pt x="171" y="29"/>
                    </a:cubicBezTo>
                    <a:cubicBezTo>
                      <a:pt x="136" y="64"/>
                      <a:pt x="136" y="64"/>
                      <a:pt x="136" y="64"/>
                    </a:cubicBezTo>
                    <a:cubicBezTo>
                      <a:pt x="133" y="66"/>
                      <a:pt x="131" y="71"/>
                      <a:pt x="130" y="75"/>
                    </a:cubicBezTo>
                    <a:cubicBezTo>
                      <a:pt x="130" y="76"/>
                      <a:pt x="130" y="76"/>
                      <a:pt x="130" y="76"/>
                    </a:cubicBezTo>
                    <a:cubicBezTo>
                      <a:pt x="130" y="76"/>
                      <a:pt x="130" y="77"/>
                      <a:pt x="130" y="78"/>
                    </a:cubicBezTo>
                    <a:cubicBezTo>
                      <a:pt x="130" y="79"/>
                      <a:pt x="130" y="81"/>
                      <a:pt x="131" y="82"/>
                    </a:cubicBezTo>
                    <a:cubicBezTo>
                      <a:pt x="132" y="83"/>
                      <a:pt x="133" y="84"/>
                      <a:pt x="135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6" y="84"/>
                      <a:pt x="136" y="84"/>
                      <a:pt x="136" y="84"/>
                    </a:cubicBezTo>
                    <a:cubicBezTo>
                      <a:pt x="137" y="84"/>
                      <a:pt x="138" y="84"/>
                      <a:pt x="138" y="85"/>
                    </a:cubicBezTo>
                    <a:cubicBezTo>
                      <a:pt x="139" y="86"/>
                      <a:pt x="140" y="87"/>
                      <a:pt x="140" y="88"/>
                    </a:cubicBezTo>
                    <a:cubicBezTo>
                      <a:pt x="141" y="91"/>
                      <a:pt x="141" y="91"/>
                      <a:pt x="141" y="91"/>
                    </a:cubicBezTo>
                    <a:cubicBezTo>
                      <a:pt x="142" y="92"/>
                      <a:pt x="143" y="93"/>
                      <a:pt x="143" y="94"/>
                    </a:cubicBezTo>
                    <a:cubicBezTo>
                      <a:pt x="144" y="95"/>
                      <a:pt x="145" y="95"/>
                      <a:pt x="147" y="95"/>
                    </a:cubicBezTo>
                    <a:cubicBezTo>
                      <a:pt x="148" y="95"/>
                      <a:pt x="150" y="94"/>
                      <a:pt x="151" y="93"/>
                    </a:cubicBezTo>
                    <a:cubicBezTo>
                      <a:pt x="156" y="86"/>
                      <a:pt x="156" y="86"/>
                      <a:pt x="156" y="86"/>
                    </a:cubicBezTo>
                    <a:cubicBezTo>
                      <a:pt x="158" y="83"/>
                      <a:pt x="160" y="78"/>
                      <a:pt x="160" y="74"/>
                    </a:cubicBezTo>
                    <a:cubicBezTo>
                      <a:pt x="161" y="71"/>
                      <a:pt x="163" y="66"/>
                      <a:pt x="164" y="64"/>
                    </a:cubicBezTo>
                    <a:cubicBezTo>
                      <a:pt x="167" y="60"/>
                      <a:pt x="167" y="60"/>
                      <a:pt x="167" y="60"/>
                    </a:cubicBezTo>
                    <a:cubicBezTo>
                      <a:pt x="167" y="59"/>
                      <a:pt x="168" y="59"/>
                      <a:pt x="169" y="58"/>
                    </a:cubicBezTo>
                    <a:cubicBezTo>
                      <a:pt x="170" y="58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7"/>
                      <a:pt x="171" y="57"/>
                      <a:pt x="171" y="57"/>
                    </a:cubicBezTo>
                    <a:cubicBezTo>
                      <a:pt x="171" y="58"/>
                      <a:pt x="170" y="59"/>
                      <a:pt x="169" y="60"/>
                    </a:cubicBezTo>
                    <a:cubicBezTo>
                      <a:pt x="168" y="62"/>
                      <a:pt x="167" y="65"/>
                      <a:pt x="167" y="67"/>
                    </a:cubicBezTo>
                    <a:cubicBezTo>
                      <a:pt x="167" y="69"/>
                      <a:pt x="168" y="70"/>
                      <a:pt x="168" y="71"/>
                    </a:cubicBezTo>
                    <a:cubicBezTo>
                      <a:pt x="169" y="74"/>
                      <a:pt x="172" y="75"/>
                      <a:pt x="175" y="75"/>
                    </a:cubicBezTo>
                    <a:cubicBezTo>
                      <a:pt x="176" y="75"/>
                      <a:pt x="177" y="75"/>
                      <a:pt x="178" y="75"/>
                    </a:cubicBezTo>
                    <a:cubicBezTo>
                      <a:pt x="179" y="75"/>
                      <a:pt x="179" y="75"/>
                      <a:pt x="179" y="75"/>
                    </a:cubicBezTo>
                    <a:cubicBezTo>
                      <a:pt x="180" y="74"/>
                      <a:pt x="180" y="74"/>
                      <a:pt x="181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4"/>
                      <a:pt x="182" y="74"/>
                    </a:cubicBezTo>
                    <a:cubicBezTo>
                      <a:pt x="182" y="74"/>
                      <a:pt x="182" y="75"/>
                      <a:pt x="181" y="76"/>
                    </a:cubicBezTo>
                    <a:cubicBezTo>
                      <a:pt x="181" y="76"/>
                      <a:pt x="180" y="77"/>
                      <a:pt x="179" y="78"/>
                    </a:cubicBezTo>
                    <a:cubicBezTo>
                      <a:pt x="176" y="80"/>
                      <a:pt x="176" y="80"/>
                      <a:pt x="176" y="80"/>
                    </a:cubicBezTo>
                    <a:cubicBezTo>
                      <a:pt x="173" y="82"/>
                      <a:pt x="170" y="85"/>
                      <a:pt x="167" y="88"/>
                    </a:cubicBezTo>
                    <a:cubicBezTo>
                      <a:pt x="152" y="104"/>
                      <a:pt x="152" y="104"/>
                      <a:pt x="152" y="104"/>
                    </a:cubicBezTo>
                    <a:cubicBezTo>
                      <a:pt x="150" y="105"/>
                      <a:pt x="148" y="106"/>
                      <a:pt x="146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8"/>
                      <a:pt x="144" y="108"/>
                      <a:pt x="144" y="108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5" y="106"/>
                      <a:pt x="145" y="106"/>
                      <a:pt x="145" y="106"/>
                    </a:cubicBezTo>
                    <a:cubicBezTo>
                      <a:pt x="144" y="106"/>
                      <a:pt x="143" y="105"/>
                      <a:pt x="142" y="104"/>
                    </a:cubicBezTo>
                    <a:cubicBezTo>
                      <a:pt x="141" y="103"/>
                      <a:pt x="140" y="102"/>
                      <a:pt x="140" y="100"/>
                    </a:cubicBezTo>
                    <a:cubicBezTo>
                      <a:pt x="139" y="96"/>
                      <a:pt x="139" y="96"/>
                      <a:pt x="139" y="96"/>
                    </a:cubicBezTo>
                    <a:cubicBezTo>
                      <a:pt x="139" y="95"/>
                      <a:pt x="138" y="94"/>
                      <a:pt x="138" y="94"/>
                    </a:cubicBezTo>
                    <a:cubicBezTo>
                      <a:pt x="138" y="93"/>
                      <a:pt x="137" y="93"/>
                      <a:pt x="137" y="93"/>
                    </a:cubicBezTo>
                    <a:cubicBezTo>
                      <a:pt x="136" y="92"/>
                      <a:pt x="136" y="92"/>
                      <a:pt x="135" y="92"/>
                    </a:cubicBezTo>
                    <a:cubicBezTo>
                      <a:pt x="134" y="92"/>
                      <a:pt x="133" y="93"/>
                      <a:pt x="132" y="93"/>
                    </a:cubicBezTo>
                    <a:cubicBezTo>
                      <a:pt x="132" y="94"/>
                      <a:pt x="131" y="95"/>
                      <a:pt x="131" y="96"/>
                    </a:cubicBezTo>
                    <a:cubicBezTo>
                      <a:pt x="129" y="101"/>
                      <a:pt x="129" y="101"/>
                      <a:pt x="129" y="101"/>
                    </a:cubicBezTo>
                    <a:cubicBezTo>
                      <a:pt x="128" y="103"/>
                      <a:pt x="127" y="104"/>
                      <a:pt x="126" y="105"/>
                    </a:cubicBezTo>
                    <a:cubicBezTo>
                      <a:pt x="126" y="105"/>
                      <a:pt x="126" y="105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5" y="106"/>
                      <a:pt x="125" y="106"/>
                      <a:pt x="125" y="106"/>
                    </a:cubicBezTo>
                    <a:cubicBezTo>
                      <a:pt x="124" y="106"/>
                      <a:pt x="124" y="106"/>
                      <a:pt x="123" y="106"/>
                    </a:cubicBezTo>
                    <a:cubicBezTo>
                      <a:pt x="121" y="107"/>
                      <a:pt x="119" y="109"/>
                      <a:pt x="117" y="111"/>
                    </a:cubicBezTo>
                    <a:cubicBezTo>
                      <a:pt x="114" y="115"/>
                      <a:pt x="114" y="115"/>
                      <a:pt x="114" y="115"/>
                    </a:cubicBezTo>
                    <a:cubicBezTo>
                      <a:pt x="113" y="117"/>
                      <a:pt x="109" y="121"/>
                      <a:pt x="107" y="122"/>
                    </a:cubicBezTo>
                    <a:cubicBezTo>
                      <a:pt x="89" y="133"/>
                      <a:pt x="89" y="133"/>
                      <a:pt x="89" y="133"/>
                    </a:cubicBezTo>
                    <a:cubicBezTo>
                      <a:pt x="86" y="134"/>
                      <a:pt x="85" y="136"/>
                      <a:pt x="85" y="138"/>
                    </a:cubicBezTo>
                    <a:cubicBezTo>
                      <a:pt x="85" y="140"/>
                      <a:pt x="85" y="141"/>
                      <a:pt x="86" y="142"/>
                    </a:cubicBezTo>
                    <a:cubicBezTo>
                      <a:pt x="87" y="143"/>
                      <a:pt x="87" y="145"/>
                      <a:pt x="87" y="147"/>
                    </a:cubicBezTo>
                    <a:cubicBezTo>
                      <a:pt x="87" y="148"/>
                      <a:pt x="87" y="149"/>
                      <a:pt x="87" y="150"/>
                    </a:cubicBezTo>
                    <a:cubicBezTo>
                      <a:pt x="86" y="152"/>
                      <a:pt x="86" y="152"/>
                      <a:pt x="86" y="152"/>
                    </a:cubicBezTo>
                    <a:cubicBezTo>
                      <a:pt x="86" y="153"/>
                      <a:pt x="85" y="154"/>
                      <a:pt x="84" y="155"/>
                    </a:cubicBezTo>
                    <a:cubicBezTo>
                      <a:pt x="83" y="156"/>
                      <a:pt x="82" y="157"/>
                      <a:pt x="81" y="157"/>
                    </a:cubicBezTo>
                    <a:cubicBezTo>
                      <a:pt x="68" y="160"/>
                      <a:pt x="68" y="160"/>
                      <a:pt x="68" y="160"/>
                    </a:cubicBezTo>
                    <a:cubicBezTo>
                      <a:pt x="66" y="160"/>
                      <a:pt x="65" y="162"/>
                      <a:pt x="63" y="163"/>
                    </a:cubicBezTo>
                    <a:cubicBezTo>
                      <a:pt x="62" y="165"/>
                      <a:pt x="61" y="167"/>
                      <a:pt x="60" y="169"/>
                    </a:cubicBezTo>
                    <a:cubicBezTo>
                      <a:pt x="56" y="188"/>
                      <a:pt x="56" y="188"/>
                      <a:pt x="56" y="188"/>
                    </a:cubicBezTo>
                    <a:cubicBezTo>
                      <a:pt x="56" y="189"/>
                      <a:pt x="56" y="189"/>
                      <a:pt x="56" y="190"/>
                    </a:cubicBezTo>
                    <a:cubicBezTo>
                      <a:pt x="56" y="192"/>
                      <a:pt x="56" y="193"/>
                      <a:pt x="57" y="195"/>
                    </a:cubicBezTo>
                    <a:cubicBezTo>
                      <a:pt x="58" y="196"/>
                      <a:pt x="60" y="197"/>
                      <a:pt x="61" y="197"/>
                    </a:cubicBezTo>
                    <a:cubicBezTo>
                      <a:pt x="62" y="197"/>
                      <a:pt x="62" y="197"/>
                      <a:pt x="62" y="197"/>
                    </a:cubicBezTo>
                    <a:cubicBezTo>
                      <a:pt x="79" y="196"/>
                      <a:pt x="79" y="196"/>
                      <a:pt x="79" y="196"/>
                    </a:cubicBezTo>
                    <a:cubicBezTo>
                      <a:pt x="81" y="195"/>
                      <a:pt x="83" y="195"/>
                      <a:pt x="85" y="194"/>
                    </a:cubicBezTo>
                    <a:cubicBezTo>
                      <a:pt x="87" y="193"/>
                      <a:pt x="88" y="191"/>
                      <a:pt x="90" y="189"/>
                    </a:cubicBezTo>
                    <a:cubicBezTo>
                      <a:pt x="99" y="176"/>
                      <a:pt x="99" y="176"/>
                      <a:pt x="99" y="176"/>
                    </a:cubicBezTo>
                    <a:cubicBezTo>
                      <a:pt x="101" y="173"/>
                      <a:pt x="105" y="170"/>
                      <a:pt x="107" y="169"/>
                    </a:cubicBezTo>
                    <a:cubicBezTo>
                      <a:pt x="120" y="163"/>
                      <a:pt x="120" y="163"/>
                      <a:pt x="120" y="163"/>
                    </a:cubicBezTo>
                    <a:cubicBezTo>
                      <a:pt x="120" y="162"/>
                      <a:pt x="121" y="162"/>
                      <a:pt x="121" y="162"/>
                    </a:cubicBezTo>
                    <a:cubicBezTo>
                      <a:pt x="122" y="162"/>
                      <a:pt x="124" y="163"/>
                      <a:pt x="125" y="165"/>
                    </a:cubicBezTo>
                    <a:cubicBezTo>
                      <a:pt x="134" y="185"/>
                      <a:pt x="134" y="185"/>
                      <a:pt x="134" y="185"/>
                    </a:cubicBezTo>
                    <a:cubicBezTo>
                      <a:pt x="134" y="186"/>
                      <a:pt x="135" y="187"/>
                      <a:pt x="136" y="188"/>
                    </a:cubicBezTo>
                    <a:cubicBezTo>
                      <a:pt x="137" y="188"/>
                      <a:pt x="138" y="189"/>
                      <a:pt x="139" y="189"/>
                    </a:cubicBezTo>
                    <a:cubicBezTo>
                      <a:pt x="141" y="189"/>
                      <a:pt x="143" y="188"/>
                      <a:pt x="144" y="186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4" y="185"/>
                      <a:pt x="144" y="185"/>
                      <a:pt x="144" y="185"/>
                    </a:cubicBezTo>
                    <a:cubicBezTo>
                      <a:pt x="145" y="183"/>
                      <a:pt x="146" y="181"/>
                      <a:pt x="146" y="179"/>
                    </a:cubicBezTo>
                    <a:cubicBezTo>
                      <a:pt x="146" y="176"/>
                      <a:pt x="146" y="174"/>
                      <a:pt x="144" y="172"/>
                    </a:cubicBezTo>
                    <a:cubicBezTo>
                      <a:pt x="140" y="164"/>
                      <a:pt x="140" y="164"/>
                      <a:pt x="140" y="164"/>
                    </a:cubicBezTo>
                    <a:cubicBezTo>
                      <a:pt x="139" y="163"/>
                      <a:pt x="138" y="160"/>
                      <a:pt x="138" y="159"/>
                    </a:cubicBezTo>
                    <a:cubicBezTo>
                      <a:pt x="138" y="158"/>
                      <a:pt x="138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8" y="156"/>
                      <a:pt x="138" y="156"/>
                      <a:pt x="138" y="156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8" y="157"/>
                      <a:pt x="138" y="157"/>
                      <a:pt x="138" y="157"/>
                    </a:cubicBezTo>
                    <a:cubicBezTo>
                      <a:pt x="139" y="157"/>
                      <a:pt x="139" y="157"/>
                      <a:pt x="139" y="157"/>
                    </a:cubicBezTo>
                    <a:cubicBezTo>
                      <a:pt x="139" y="157"/>
                      <a:pt x="139" y="158"/>
                      <a:pt x="140" y="158"/>
                    </a:cubicBezTo>
                    <a:cubicBezTo>
                      <a:pt x="157" y="187"/>
                      <a:pt x="157" y="187"/>
                      <a:pt x="157" y="187"/>
                    </a:cubicBezTo>
                    <a:cubicBezTo>
                      <a:pt x="159" y="189"/>
                      <a:pt x="160" y="191"/>
                      <a:pt x="163" y="191"/>
                    </a:cubicBezTo>
                    <a:cubicBezTo>
                      <a:pt x="165" y="191"/>
                      <a:pt x="166" y="189"/>
                      <a:pt x="168" y="187"/>
                    </a:cubicBezTo>
                    <a:cubicBezTo>
                      <a:pt x="171" y="182"/>
                      <a:pt x="171" y="182"/>
                      <a:pt x="171" y="182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2" y="181"/>
                      <a:pt x="172" y="181"/>
                      <a:pt x="172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1" y="181"/>
                      <a:pt x="171" y="181"/>
                    </a:cubicBezTo>
                    <a:cubicBezTo>
                      <a:pt x="171" y="181"/>
                      <a:pt x="172" y="182"/>
                      <a:pt x="172" y="183"/>
                    </a:cubicBezTo>
                    <a:cubicBezTo>
                      <a:pt x="173" y="187"/>
                      <a:pt x="173" y="187"/>
                      <a:pt x="173" y="187"/>
                    </a:cubicBezTo>
                    <a:cubicBezTo>
                      <a:pt x="174" y="189"/>
                      <a:pt x="175" y="191"/>
                      <a:pt x="176" y="193"/>
                    </a:cubicBezTo>
                    <a:cubicBezTo>
                      <a:pt x="178" y="195"/>
                      <a:pt x="179" y="196"/>
                      <a:pt x="181" y="197"/>
                    </a:cubicBezTo>
                    <a:cubicBezTo>
                      <a:pt x="194" y="200"/>
                      <a:pt x="194" y="200"/>
                      <a:pt x="194" y="200"/>
                    </a:cubicBezTo>
                    <a:cubicBezTo>
                      <a:pt x="195" y="200"/>
                      <a:pt x="196" y="201"/>
                      <a:pt x="197" y="202"/>
                    </a:cubicBezTo>
                    <a:cubicBezTo>
                      <a:pt x="197" y="203"/>
                      <a:pt x="198" y="205"/>
                      <a:pt x="198" y="206"/>
                    </a:cubicBezTo>
                    <a:cubicBezTo>
                      <a:pt x="198" y="229"/>
                      <a:pt x="198" y="229"/>
                      <a:pt x="198" y="229"/>
                    </a:cubicBezTo>
                    <a:cubicBezTo>
                      <a:pt x="198" y="230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7" y="231"/>
                      <a:pt x="197" y="231"/>
                      <a:pt x="197" y="231"/>
                    </a:cubicBezTo>
                    <a:cubicBezTo>
                      <a:pt x="195" y="229"/>
                      <a:pt x="195" y="229"/>
                      <a:pt x="195" y="229"/>
                    </a:cubicBezTo>
                    <a:cubicBezTo>
                      <a:pt x="193" y="228"/>
                      <a:pt x="191" y="227"/>
                      <a:pt x="188" y="227"/>
                    </a:cubicBezTo>
                    <a:cubicBezTo>
                      <a:pt x="187" y="227"/>
                      <a:pt x="185" y="228"/>
                      <a:pt x="183" y="229"/>
                    </a:cubicBezTo>
                    <a:cubicBezTo>
                      <a:pt x="182" y="230"/>
                      <a:pt x="182" y="230"/>
                      <a:pt x="182" y="230"/>
                    </a:cubicBezTo>
                    <a:cubicBezTo>
                      <a:pt x="181" y="230"/>
                      <a:pt x="180" y="230"/>
                      <a:pt x="179" y="230"/>
                    </a:cubicBezTo>
                    <a:cubicBezTo>
                      <a:pt x="177" y="230"/>
                      <a:pt x="176" y="230"/>
                      <a:pt x="175" y="229"/>
                    </a:cubicBezTo>
                    <a:cubicBezTo>
                      <a:pt x="168" y="225"/>
                      <a:pt x="168" y="225"/>
                      <a:pt x="168" y="225"/>
                    </a:cubicBezTo>
                    <a:cubicBezTo>
                      <a:pt x="167" y="223"/>
                      <a:pt x="165" y="223"/>
                      <a:pt x="163" y="223"/>
                    </a:cubicBezTo>
                    <a:cubicBezTo>
                      <a:pt x="161" y="223"/>
                      <a:pt x="159" y="224"/>
                      <a:pt x="157" y="225"/>
                    </a:cubicBezTo>
                    <a:cubicBezTo>
                      <a:pt x="154" y="227"/>
                      <a:pt x="154" y="227"/>
                      <a:pt x="154" y="227"/>
                    </a:cubicBezTo>
                    <a:cubicBezTo>
                      <a:pt x="153" y="228"/>
                      <a:pt x="151" y="229"/>
                      <a:pt x="149" y="229"/>
                    </a:cubicBezTo>
                    <a:cubicBezTo>
                      <a:pt x="148" y="229"/>
                      <a:pt x="147" y="229"/>
                      <a:pt x="147" y="228"/>
                    </a:cubicBezTo>
                    <a:cubicBezTo>
                      <a:pt x="129" y="219"/>
                      <a:pt x="129" y="219"/>
                      <a:pt x="129" y="219"/>
                    </a:cubicBezTo>
                    <a:cubicBezTo>
                      <a:pt x="128" y="219"/>
                      <a:pt x="127" y="217"/>
                      <a:pt x="126" y="216"/>
                    </a:cubicBezTo>
                    <a:cubicBezTo>
                      <a:pt x="125" y="215"/>
                      <a:pt x="125" y="213"/>
                      <a:pt x="125" y="212"/>
                    </a:cubicBezTo>
                    <a:cubicBezTo>
                      <a:pt x="124" y="201"/>
                      <a:pt x="124" y="201"/>
                      <a:pt x="124" y="201"/>
                    </a:cubicBezTo>
                    <a:cubicBezTo>
                      <a:pt x="124" y="199"/>
                      <a:pt x="123" y="197"/>
                      <a:pt x="122" y="196"/>
                    </a:cubicBezTo>
                    <a:cubicBezTo>
                      <a:pt x="121" y="195"/>
                      <a:pt x="119" y="194"/>
                      <a:pt x="118" y="194"/>
                    </a:cubicBezTo>
                    <a:cubicBezTo>
                      <a:pt x="117" y="194"/>
                      <a:pt x="117" y="194"/>
                      <a:pt x="116" y="194"/>
                    </a:cubicBezTo>
                    <a:cubicBezTo>
                      <a:pt x="51" y="210"/>
                      <a:pt x="51" y="210"/>
                      <a:pt x="51" y="210"/>
                    </a:cubicBezTo>
                    <a:cubicBezTo>
                      <a:pt x="50" y="211"/>
                      <a:pt x="48" y="212"/>
                      <a:pt x="46" y="213"/>
                    </a:cubicBezTo>
                    <a:cubicBezTo>
                      <a:pt x="45" y="215"/>
                      <a:pt x="43" y="216"/>
                      <a:pt x="42" y="218"/>
                    </a:cubicBezTo>
                    <a:cubicBezTo>
                      <a:pt x="2" y="299"/>
                      <a:pt x="2" y="299"/>
                      <a:pt x="2" y="299"/>
                    </a:cubicBezTo>
                    <a:cubicBezTo>
                      <a:pt x="1" y="301"/>
                      <a:pt x="0" y="305"/>
                      <a:pt x="0" y="308"/>
                    </a:cubicBezTo>
                    <a:cubicBezTo>
                      <a:pt x="0" y="310"/>
                      <a:pt x="0" y="311"/>
                      <a:pt x="0" y="312"/>
                    </a:cubicBezTo>
                    <a:lnTo>
                      <a:pt x="3" y="31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19" name="Freeform 284"/>
              <p:cNvSpPr>
                <a:spLocks/>
              </p:cNvSpPr>
              <p:nvPr/>
            </p:nvSpPr>
            <p:spPr bwMode="auto">
              <a:xfrm>
                <a:off x="-3751262" y="2446334"/>
                <a:ext cx="508000" cy="323850"/>
              </a:xfrm>
              <a:custGeom>
                <a:avLst/>
                <a:gdLst/>
                <a:ahLst/>
                <a:cxnLst>
                  <a:cxn ang="0">
                    <a:pos x="6" y="86"/>
                  </a:cxn>
                  <a:cxn ang="0">
                    <a:pos x="11" y="85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0" y="84"/>
                  </a:cxn>
                  <a:cxn ang="0">
                    <a:pos x="11" y="86"/>
                  </a:cxn>
                  <a:cxn ang="0">
                    <a:pos x="19" y="83"/>
                  </a:cxn>
                  <a:cxn ang="0">
                    <a:pos x="34" y="70"/>
                  </a:cxn>
                  <a:cxn ang="0">
                    <a:pos x="69" y="53"/>
                  </a:cxn>
                  <a:cxn ang="0">
                    <a:pos x="84" y="55"/>
                  </a:cxn>
                  <a:cxn ang="0">
                    <a:pos x="87" y="47"/>
                  </a:cxn>
                  <a:cxn ang="0">
                    <a:pos x="84" y="42"/>
                  </a:cxn>
                  <a:cxn ang="0">
                    <a:pos x="84" y="42"/>
                  </a:cxn>
                  <a:cxn ang="0">
                    <a:pos x="84" y="41"/>
                  </a:cxn>
                  <a:cxn ang="0">
                    <a:pos x="84" y="41"/>
                  </a:cxn>
                  <a:cxn ang="0">
                    <a:pos x="88" y="41"/>
                  </a:cxn>
                  <a:cxn ang="0">
                    <a:pos x="93" y="40"/>
                  </a:cxn>
                  <a:cxn ang="0">
                    <a:pos x="134" y="12"/>
                  </a:cxn>
                  <a:cxn ang="0">
                    <a:pos x="131" y="5"/>
                  </a:cxn>
                  <a:cxn ang="0">
                    <a:pos x="130" y="9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10"/>
                  </a:cxn>
                  <a:cxn ang="0">
                    <a:pos x="131" y="9"/>
                  </a:cxn>
                  <a:cxn ang="0">
                    <a:pos x="131" y="9"/>
                  </a:cxn>
                  <a:cxn ang="0">
                    <a:pos x="130" y="10"/>
                  </a:cxn>
                  <a:cxn ang="0">
                    <a:pos x="89" y="37"/>
                  </a:cxn>
                  <a:cxn ang="0">
                    <a:pos x="84" y="37"/>
                  </a:cxn>
                  <a:cxn ang="0">
                    <a:pos x="82" y="48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84" y="51"/>
                  </a:cxn>
                  <a:cxn ang="0">
                    <a:pos x="69" y="49"/>
                  </a:cxn>
                  <a:cxn ang="0">
                    <a:pos x="31" y="66"/>
                  </a:cxn>
                  <a:cxn ang="0">
                    <a:pos x="16" y="80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2"/>
                  </a:cxn>
                  <a:cxn ang="0">
                    <a:pos x="13" y="83"/>
                  </a:cxn>
                  <a:cxn ang="0">
                    <a:pos x="13" y="83"/>
                  </a:cxn>
                  <a:cxn ang="0">
                    <a:pos x="11" y="80"/>
                  </a:cxn>
                  <a:cxn ang="0">
                    <a:pos x="5" y="82"/>
                  </a:cxn>
                </a:cxnLst>
                <a:rect l="0" t="0" r="r" b="b"/>
                <a:pathLst>
                  <a:path w="135" h="86">
                    <a:moveTo>
                      <a:pt x="0" y="83"/>
                    </a:moveTo>
                    <a:cubicBezTo>
                      <a:pt x="0" y="83"/>
                      <a:pt x="1" y="84"/>
                      <a:pt x="2" y="85"/>
                    </a:cubicBezTo>
                    <a:cubicBezTo>
                      <a:pt x="3" y="86"/>
                      <a:pt x="5" y="86"/>
                      <a:pt x="6" y="86"/>
                    </a:cubicBezTo>
                    <a:cubicBezTo>
                      <a:pt x="7" y="86"/>
                      <a:pt x="9" y="86"/>
                      <a:pt x="10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5"/>
                      <a:pt x="11" y="85"/>
                      <a:pt x="11" y="85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1" y="84"/>
                      <a:pt x="11" y="84"/>
                      <a:pt x="11" y="84"/>
                    </a:cubicBezTo>
                    <a:cubicBezTo>
                      <a:pt x="10" y="84"/>
                      <a:pt x="10" y="84"/>
                      <a:pt x="10" y="84"/>
                    </a:cubicBezTo>
                    <a:cubicBezTo>
                      <a:pt x="10" y="85"/>
                      <a:pt x="11" y="85"/>
                      <a:pt x="11" y="86"/>
                    </a:cubicBezTo>
                    <a:cubicBezTo>
                      <a:pt x="12" y="86"/>
                      <a:pt x="13" y="86"/>
                      <a:pt x="13" y="86"/>
                    </a:cubicBezTo>
                    <a:cubicBezTo>
                      <a:pt x="14" y="86"/>
                      <a:pt x="15" y="86"/>
                      <a:pt x="16" y="85"/>
                    </a:cubicBezTo>
                    <a:cubicBezTo>
                      <a:pt x="17" y="85"/>
                      <a:pt x="18" y="84"/>
                      <a:pt x="19" y="83"/>
                    </a:cubicBezTo>
                    <a:cubicBezTo>
                      <a:pt x="20" y="82"/>
                      <a:pt x="20" y="82"/>
                      <a:pt x="20" y="82"/>
                    </a:cubicBezTo>
                    <a:cubicBezTo>
                      <a:pt x="22" y="80"/>
                      <a:pt x="26" y="76"/>
                      <a:pt x="28" y="75"/>
                    </a:cubicBezTo>
                    <a:cubicBezTo>
                      <a:pt x="34" y="70"/>
                      <a:pt x="34" y="70"/>
                      <a:pt x="34" y="70"/>
                    </a:cubicBezTo>
                    <a:cubicBezTo>
                      <a:pt x="36" y="68"/>
                      <a:pt x="40" y="65"/>
                      <a:pt x="43" y="64"/>
                    </a:cubicBezTo>
                    <a:cubicBezTo>
                      <a:pt x="62" y="54"/>
                      <a:pt x="62" y="54"/>
                      <a:pt x="62" y="54"/>
                    </a:cubicBezTo>
                    <a:cubicBezTo>
                      <a:pt x="64" y="54"/>
                      <a:pt x="67" y="53"/>
                      <a:pt x="69" y="53"/>
                    </a:cubicBezTo>
                    <a:cubicBezTo>
                      <a:pt x="70" y="53"/>
                      <a:pt x="70" y="53"/>
                      <a:pt x="71" y="53"/>
                    </a:cubicBezTo>
                    <a:cubicBezTo>
                      <a:pt x="83" y="55"/>
                      <a:pt x="83" y="55"/>
                      <a:pt x="83" y="55"/>
                    </a:cubicBezTo>
                    <a:cubicBezTo>
                      <a:pt x="84" y="55"/>
                      <a:pt x="84" y="55"/>
                      <a:pt x="84" y="55"/>
                    </a:cubicBezTo>
                    <a:cubicBezTo>
                      <a:pt x="85" y="55"/>
                      <a:pt x="86" y="55"/>
                      <a:pt x="87" y="54"/>
                    </a:cubicBezTo>
                    <a:cubicBezTo>
                      <a:pt x="88" y="53"/>
                      <a:pt x="88" y="52"/>
                      <a:pt x="88" y="51"/>
                    </a:cubicBezTo>
                    <a:cubicBezTo>
                      <a:pt x="88" y="50"/>
                      <a:pt x="87" y="48"/>
                      <a:pt x="87" y="47"/>
                    </a:cubicBezTo>
                    <a:cubicBezTo>
                      <a:pt x="86" y="46"/>
                      <a:pt x="86" y="46"/>
                      <a:pt x="86" y="46"/>
                    </a:cubicBezTo>
                    <a:cubicBezTo>
                      <a:pt x="85" y="45"/>
                      <a:pt x="84" y="43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4" y="41"/>
                      <a:pt x="84" y="41"/>
                      <a:pt x="84" y="41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5" y="41"/>
                      <a:pt x="85" y="41"/>
                      <a:pt x="85" y="41"/>
                    </a:cubicBezTo>
                    <a:cubicBezTo>
                      <a:pt x="86" y="41"/>
                      <a:pt x="87" y="41"/>
                      <a:pt x="88" y="41"/>
                    </a:cubicBezTo>
                    <a:cubicBezTo>
                      <a:pt x="88" y="41"/>
                      <a:pt x="88" y="41"/>
                      <a:pt x="88" y="41"/>
                    </a:cubicBezTo>
                    <a:cubicBezTo>
                      <a:pt x="89" y="41"/>
                      <a:pt x="89" y="41"/>
                      <a:pt x="89" y="41"/>
                    </a:cubicBezTo>
                    <a:cubicBezTo>
                      <a:pt x="90" y="41"/>
                      <a:pt x="92" y="41"/>
                      <a:pt x="93" y="40"/>
                    </a:cubicBezTo>
                    <a:cubicBezTo>
                      <a:pt x="95" y="39"/>
                      <a:pt x="96" y="39"/>
                      <a:pt x="98" y="38"/>
                    </a:cubicBezTo>
                    <a:cubicBezTo>
                      <a:pt x="133" y="13"/>
                      <a:pt x="133" y="13"/>
                      <a:pt x="133" y="13"/>
                    </a:cubicBezTo>
                    <a:cubicBezTo>
                      <a:pt x="134" y="12"/>
                      <a:pt x="134" y="12"/>
                      <a:pt x="134" y="12"/>
                    </a:cubicBezTo>
                    <a:cubicBezTo>
                      <a:pt x="135" y="11"/>
                      <a:pt x="135" y="10"/>
                      <a:pt x="135" y="9"/>
                    </a:cubicBezTo>
                    <a:cubicBezTo>
                      <a:pt x="135" y="8"/>
                      <a:pt x="135" y="7"/>
                      <a:pt x="134" y="6"/>
                    </a:cubicBezTo>
                    <a:cubicBezTo>
                      <a:pt x="133" y="6"/>
                      <a:pt x="132" y="5"/>
                      <a:pt x="131" y="5"/>
                    </a:cubicBezTo>
                    <a:cubicBezTo>
                      <a:pt x="105" y="0"/>
                      <a:pt x="105" y="0"/>
                      <a:pt x="105" y="0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30" y="9"/>
                      <a:pt x="130" y="9"/>
                      <a:pt x="130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10"/>
                      <a:pt x="131" y="10"/>
                      <a:pt x="131" y="10"/>
                    </a:cubicBezTo>
                    <a:cubicBezTo>
                      <a:pt x="132" y="9"/>
                      <a:pt x="132" y="9"/>
                      <a:pt x="132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1" y="9"/>
                    </a:cubicBezTo>
                    <a:cubicBezTo>
                      <a:pt x="131" y="9"/>
                      <a:pt x="131" y="9"/>
                      <a:pt x="130" y="10"/>
                    </a:cubicBezTo>
                    <a:cubicBezTo>
                      <a:pt x="95" y="34"/>
                      <a:pt x="95" y="34"/>
                      <a:pt x="95" y="34"/>
                    </a:cubicBezTo>
                    <a:cubicBezTo>
                      <a:pt x="94" y="35"/>
                      <a:pt x="93" y="36"/>
                      <a:pt x="92" y="36"/>
                    </a:cubicBezTo>
                    <a:cubicBezTo>
                      <a:pt x="91" y="36"/>
                      <a:pt x="89" y="37"/>
                      <a:pt x="89" y="37"/>
                    </a:cubicBezTo>
                    <a:cubicBezTo>
                      <a:pt x="89" y="37"/>
                      <a:pt x="89" y="37"/>
                      <a:pt x="89" y="37"/>
                    </a:cubicBezTo>
                    <a:cubicBezTo>
                      <a:pt x="88" y="37"/>
                      <a:pt x="88" y="37"/>
                      <a:pt x="88" y="37"/>
                    </a:cubicBezTo>
                    <a:cubicBezTo>
                      <a:pt x="86" y="37"/>
                      <a:pt x="85" y="37"/>
                      <a:pt x="84" y="37"/>
                    </a:cubicBezTo>
                    <a:cubicBezTo>
                      <a:pt x="83" y="37"/>
                      <a:pt x="82" y="38"/>
                      <a:pt x="81" y="39"/>
                    </a:cubicBezTo>
                    <a:cubicBezTo>
                      <a:pt x="80" y="40"/>
                      <a:pt x="80" y="41"/>
                      <a:pt x="80" y="42"/>
                    </a:cubicBezTo>
                    <a:cubicBezTo>
                      <a:pt x="80" y="44"/>
                      <a:pt x="81" y="46"/>
                      <a:pt x="82" y="48"/>
                    </a:cubicBezTo>
                    <a:cubicBezTo>
                      <a:pt x="83" y="50"/>
                      <a:pt x="83" y="50"/>
                      <a:pt x="83" y="50"/>
                    </a:cubicBezTo>
                    <a:cubicBezTo>
                      <a:pt x="84" y="50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84" y="51"/>
                      <a:pt x="84" y="51"/>
                      <a:pt x="84" y="51"/>
                    </a:cubicBezTo>
                    <a:cubicBezTo>
                      <a:pt x="71" y="49"/>
                      <a:pt x="71" y="49"/>
                      <a:pt x="71" y="49"/>
                    </a:cubicBezTo>
                    <a:cubicBezTo>
                      <a:pt x="71" y="49"/>
                      <a:pt x="70" y="49"/>
                      <a:pt x="69" y="49"/>
                    </a:cubicBezTo>
                    <a:cubicBezTo>
                      <a:pt x="66" y="49"/>
                      <a:pt x="63" y="49"/>
                      <a:pt x="60" y="51"/>
                    </a:cubicBezTo>
                    <a:cubicBezTo>
                      <a:pt x="41" y="60"/>
                      <a:pt x="41" y="60"/>
                      <a:pt x="41" y="60"/>
                    </a:cubicBezTo>
                    <a:cubicBezTo>
                      <a:pt x="38" y="62"/>
                      <a:pt x="34" y="64"/>
                      <a:pt x="31" y="66"/>
                    </a:cubicBezTo>
                    <a:cubicBezTo>
                      <a:pt x="25" y="71"/>
                      <a:pt x="25" y="71"/>
                      <a:pt x="25" y="71"/>
                    </a:cubicBezTo>
                    <a:cubicBezTo>
                      <a:pt x="23" y="73"/>
                      <a:pt x="19" y="77"/>
                      <a:pt x="17" y="79"/>
                    </a:cubicBezTo>
                    <a:cubicBezTo>
                      <a:pt x="16" y="80"/>
                      <a:pt x="16" y="80"/>
                      <a:pt x="16" y="80"/>
                    </a:cubicBezTo>
                    <a:cubicBezTo>
                      <a:pt x="15" y="81"/>
                      <a:pt x="14" y="81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2"/>
                      <a:pt x="13" y="82"/>
                      <a:pt x="13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4" y="82"/>
                      <a:pt x="14" y="82"/>
                    </a:cubicBezTo>
                    <a:cubicBezTo>
                      <a:pt x="13" y="83"/>
                      <a:pt x="13" y="83"/>
                      <a:pt x="13" y="83"/>
                    </a:cubicBezTo>
                    <a:cubicBezTo>
                      <a:pt x="14" y="83"/>
                      <a:pt x="14" y="83"/>
                      <a:pt x="14" y="83"/>
                    </a:cubicBezTo>
                    <a:cubicBezTo>
                      <a:pt x="14" y="82"/>
                      <a:pt x="13" y="81"/>
                      <a:pt x="13" y="81"/>
                    </a:cubicBezTo>
                    <a:cubicBezTo>
                      <a:pt x="12" y="80"/>
                      <a:pt x="11" y="80"/>
                      <a:pt x="11" y="80"/>
                    </a:cubicBezTo>
                    <a:cubicBezTo>
                      <a:pt x="9" y="80"/>
                      <a:pt x="8" y="81"/>
                      <a:pt x="7" y="82"/>
                    </a:cubicBezTo>
                    <a:cubicBezTo>
                      <a:pt x="6" y="82"/>
                      <a:pt x="6" y="82"/>
                      <a:pt x="6" y="82"/>
                    </a:cubicBezTo>
                    <a:cubicBezTo>
                      <a:pt x="5" y="82"/>
                      <a:pt x="5" y="82"/>
                      <a:pt x="5" y="82"/>
                    </a:cubicBezTo>
                    <a:cubicBezTo>
                      <a:pt x="4" y="81"/>
                      <a:pt x="3" y="79"/>
                      <a:pt x="3" y="79"/>
                    </a:cubicBezTo>
                    <a:lnTo>
                      <a:pt x="0" y="8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0" name="Freeform 285"/>
              <p:cNvSpPr>
                <a:spLocks/>
              </p:cNvSpPr>
              <p:nvPr/>
            </p:nvSpPr>
            <p:spPr bwMode="auto">
              <a:xfrm>
                <a:off x="-1827212" y="3863971"/>
                <a:ext cx="150813" cy="225425"/>
              </a:xfrm>
              <a:custGeom>
                <a:avLst/>
                <a:gdLst/>
                <a:ahLst/>
                <a:cxnLst>
                  <a:cxn ang="0">
                    <a:pos x="4" y="37"/>
                  </a:cxn>
                  <a:cxn ang="0">
                    <a:pos x="6" y="36"/>
                  </a:cxn>
                  <a:cxn ang="0">
                    <a:pos x="4" y="33"/>
                  </a:cxn>
                  <a:cxn ang="0">
                    <a:pos x="5" y="30"/>
                  </a:cxn>
                  <a:cxn ang="0">
                    <a:pos x="25" y="6"/>
                  </a:cxn>
                  <a:cxn ang="0">
                    <a:pos x="28" y="5"/>
                  </a:cxn>
                  <a:cxn ang="0">
                    <a:pos x="30" y="5"/>
                  </a:cxn>
                  <a:cxn ang="0">
                    <a:pos x="33" y="8"/>
                  </a:cxn>
                  <a:cxn ang="0">
                    <a:pos x="35" y="10"/>
                  </a:cxn>
                  <a:cxn ang="0">
                    <a:pos x="35" y="14"/>
                  </a:cxn>
                  <a:cxn ang="0">
                    <a:pos x="35" y="15"/>
                  </a:cxn>
                  <a:cxn ang="0">
                    <a:pos x="26" y="54"/>
                  </a:cxn>
                  <a:cxn ang="0">
                    <a:pos x="26" y="55"/>
                  </a:cxn>
                  <a:cxn ang="0">
                    <a:pos x="25" y="55"/>
                  </a:cxn>
                  <a:cxn ang="0">
                    <a:pos x="24" y="55"/>
                  </a:cxn>
                  <a:cxn ang="0">
                    <a:pos x="6" y="36"/>
                  </a:cxn>
                  <a:cxn ang="0">
                    <a:pos x="4" y="37"/>
                  </a:cxn>
                  <a:cxn ang="0">
                    <a:pos x="2" y="39"/>
                  </a:cxn>
                  <a:cxn ang="0">
                    <a:pos x="21" y="58"/>
                  </a:cxn>
                  <a:cxn ang="0">
                    <a:pos x="25" y="60"/>
                  </a:cxn>
                  <a:cxn ang="0">
                    <a:pos x="29" y="58"/>
                  </a:cxn>
                  <a:cxn ang="0">
                    <a:pos x="31" y="55"/>
                  </a:cxn>
                  <a:cxn ang="0">
                    <a:pos x="39" y="16"/>
                  </a:cxn>
                  <a:cxn ang="0">
                    <a:pos x="40" y="14"/>
                  </a:cxn>
                  <a:cxn ang="0">
                    <a:pos x="39" y="9"/>
                  </a:cxn>
                  <a:cxn ang="0">
                    <a:pos x="36" y="4"/>
                  </a:cxn>
                  <a:cxn ang="0">
                    <a:pos x="33" y="2"/>
                  </a:cxn>
                  <a:cxn ang="0">
                    <a:pos x="28" y="0"/>
                  </a:cxn>
                  <a:cxn ang="0">
                    <a:pos x="22" y="3"/>
                  </a:cxn>
                  <a:cxn ang="0">
                    <a:pos x="2" y="27"/>
                  </a:cxn>
                  <a:cxn ang="0">
                    <a:pos x="0" y="33"/>
                  </a:cxn>
                  <a:cxn ang="0">
                    <a:pos x="2" y="39"/>
                  </a:cxn>
                  <a:cxn ang="0">
                    <a:pos x="4" y="37"/>
                  </a:cxn>
                </a:cxnLst>
                <a:rect l="0" t="0" r="r" b="b"/>
                <a:pathLst>
                  <a:path w="40" h="60">
                    <a:moveTo>
                      <a:pt x="4" y="37"/>
                    </a:moveTo>
                    <a:cubicBezTo>
                      <a:pt x="6" y="36"/>
                      <a:pt x="6" y="36"/>
                      <a:pt x="6" y="36"/>
                    </a:cubicBezTo>
                    <a:cubicBezTo>
                      <a:pt x="5" y="35"/>
                      <a:pt x="4" y="34"/>
                      <a:pt x="4" y="33"/>
                    </a:cubicBezTo>
                    <a:cubicBezTo>
                      <a:pt x="4" y="32"/>
                      <a:pt x="5" y="31"/>
                      <a:pt x="5" y="30"/>
                    </a:cubicBezTo>
                    <a:cubicBezTo>
                      <a:pt x="25" y="6"/>
                      <a:pt x="25" y="6"/>
                      <a:pt x="25" y="6"/>
                    </a:cubicBezTo>
                    <a:cubicBezTo>
                      <a:pt x="26" y="5"/>
                      <a:pt x="27" y="5"/>
                      <a:pt x="28" y="5"/>
                    </a:cubicBezTo>
                    <a:cubicBezTo>
                      <a:pt x="29" y="5"/>
                      <a:pt x="29" y="5"/>
                      <a:pt x="30" y="5"/>
                    </a:cubicBezTo>
                    <a:cubicBezTo>
                      <a:pt x="33" y="8"/>
                      <a:pt x="33" y="8"/>
                      <a:pt x="33" y="8"/>
                    </a:cubicBezTo>
                    <a:cubicBezTo>
                      <a:pt x="34" y="8"/>
                      <a:pt x="34" y="9"/>
                      <a:pt x="35" y="10"/>
                    </a:cubicBezTo>
                    <a:cubicBezTo>
                      <a:pt x="35" y="11"/>
                      <a:pt x="35" y="13"/>
                      <a:pt x="35" y="14"/>
                    </a:cubicBezTo>
                    <a:cubicBezTo>
                      <a:pt x="35" y="15"/>
                      <a:pt x="35" y="15"/>
                      <a:pt x="35" y="15"/>
                    </a:cubicBezTo>
                    <a:cubicBezTo>
                      <a:pt x="26" y="54"/>
                      <a:pt x="26" y="54"/>
                      <a:pt x="26" y="54"/>
                    </a:cubicBezTo>
                    <a:cubicBezTo>
                      <a:pt x="26" y="55"/>
                      <a:pt x="26" y="55"/>
                      <a:pt x="26" y="55"/>
                    </a:cubicBezTo>
                    <a:cubicBezTo>
                      <a:pt x="25" y="55"/>
                      <a:pt x="25" y="55"/>
                      <a:pt x="25" y="55"/>
                    </a:cubicBezTo>
                    <a:cubicBezTo>
                      <a:pt x="25" y="55"/>
                      <a:pt x="25" y="55"/>
                      <a:pt x="24" y="55"/>
                    </a:cubicBezTo>
                    <a:cubicBezTo>
                      <a:pt x="6" y="36"/>
                      <a:pt x="6" y="36"/>
                      <a:pt x="6" y="36"/>
                    </a:cubicBezTo>
                    <a:cubicBezTo>
                      <a:pt x="4" y="37"/>
                      <a:pt x="4" y="37"/>
                      <a:pt x="4" y="37"/>
                    </a:cubicBezTo>
                    <a:cubicBezTo>
                      <a:pt x="2" y="39"/>
                      <a:pt x="2" y="39"/>
                      <a:pt x="2" y="39"/>
                    </a:cubicBezTo>
                    <a:cubicBezTo>
                      <a:pt x="21" y="58"/>
                      <a:pt x="21" y="58"/>
                      <a:pt x="21" y="58"/>
                    </a:cubicBezTo>
                    <a:cubicBezTo>
                      <a:pt x="23" y="59"/>
                      <a:pt x="24" y="60"/>
                      <a:pt x="25" y="60"/>
                    </a:cubicBezTo>
                    <a:cubicBezTo>
                      <a:pt x="27" y="60"/>
                      <a:pt x="28" y="59"/>
                      <a:pt x="29" y="58"/>
                    </a:cubicBezTo>
                    <a:cubicBezTo>
                      <a:pt x="30" y="57"/>
                      <a:pt x="30" y="56"/>
                      <a:pt x="31" y="55"/>
                    </a:cubicBezTo>
                    <a:cubicBezTo>
                      <a:pt x="39" y="16"/>
                      <a:pt x="39" y="16"/>
                      <a:pt x="39" y="16"/>
                    </a:cubicBezTo>
                    <a:cubicBezTo>
                      <a:pt x="40" y="16"/>
                      <a:pt x="40" y="15"/>
                      <a:pt x="40" y="14"/>
                    </a:cubicBezTo>
                    <a:cubicBezTo>
                      <a:pt x="40" y="12"/>
                      <a:pt x="39" y="10"/>
                      <a:pt x="39" y="9"/>
                    </a:cubicBezTo>
                    <a:cubicBezTo>
                      <a:pt x="38" y="7"/>
                      <a:pt x="37" y="5"/>
                      <a:pt x="36" y="4"/>
                    </a:cubicBezTo>
                    <a:cubicBezTo>
                      <a:pt x="33" y="2"/>
                      <a:pt x="33" y="2"/>
                      <a:pt x="33" y="2"/>
                    </a:cubicBezTo>
                    <a:cubicBezTo>
                      <a:pt x="31" y="1"/>
                      <a:pt x="30" y="0"/>
                      <a:pt x="28" y="0"/>
                    </a:cubicBezTo>
                    <a:cubicBezTo>
                      <a:pt x="26" y="0"/>
                      <a:pt x="23" y="1"/>
                      <a:pt x="22" y="3"/>
                    </a:cubicBezTo>
                    <a:cubicBezTo>
                      <a:pt x="2" y="27"/>
                      <a:pt x="2" y="27"/>
                      <a:pt x="2" y="27"/>
                    </a:cubicBezTo>
                    <a:cubicBezTo>
                      <a:pt x="1" y="29"/>
                      <a:pt x="0" y="31"/>
                      <a:pt x="0" y="33"/>
                    </a:cubicBezTo>
                    <a:cubicBezTo>
                      <a:pt x="0" y="35"/>
                      <a:pt x="1" y="37"/>
                      <a:pt x="2" y="39"/>
                    </a:cubicBezTo>
                    <a:lnTo>
                      <a:pt x="4" y="3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1" name="Freeform 286"/>
              <p:cNvSpPr>
                <a:spLocks/>
              </p:cNvSpPr>
              <p:nvPr/>
            </p:nvSpPr>
            <p:spPr bwMode="auto">
              <a:xfrm>
                <a:off x="-2038349" y="3898895"/>
                <a:ext cx="180975" cy="250825"/>
              </a:xfrm>
              <a:custGeom>
                <a:avLst/>
                <a:gdLst/>
                <a:ahLst/>
                <a:cxnLst>
                  <a:cxn ang="0">
                    <a:pos x="5" y="4"/>
                  </a:cxn>
                  <a:cxn ang="0">
                    <a:pos x="5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3" y="3"/>
                  </a:cxn>
                  <a:cxn ang="0">
                    <a:pos x="3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5"/>
                  </a:cxn>
                  <a:cxn ang="0">
                    <a:pos x="13" y="10"/>
                  </a:cxn>
                  <a:cxn ang="0">
                    <a:pos x="44" y="61"/>
                  </a:cxn>
                  <a:cxn ang="0">
                    <a:pos x="44" y="63"/>
                  </a:cxn>
                  <a:cxn ang="0">
                    <a:pos x="45" y="64"/>
                  </a:cxn>
                  <a:cxn ang="0">
                    <a:pos x="44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4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5" y="63"/>
                  </a:cxn>
                  <a:cxn ang="0">
                    <a:pos x="44" y="62"/>
                  </a:cxn>
                  <a:cxn ang="0">
                    <a:pos x="3" y="6"/>
                  </a:cxn>
                  <a:cxn ang="0">
                    <a:pos x="41" y="64"/>
                  </a:cxn>
                  <a:cxn ang="0">
                    <a:pos x="45" y="67"/>
                  </a:cxn>
                  <a:cxn ang="0">
                    <a:pos x="48" y="64"/>
                  </a:cxn>
                  <a:cxn ang="0">
                    <a:pos x="48" y="61"/>
                  </a:cxn>
                  <a:cxn ang="0">
                    <a:pos x="16" y="8"/>
                  </a:cxn>
                  <a:cxn ang="0">
                    <a:pos x="7" y="0"/>
                  </a:cxn>
                  <a:cxn ang="0">
                    <a:pos x="4" y="0"/>
                  </a:cxn>
                  <a:cxn ang="0">
                    <a:pos x="0" y="3"/>
                  </a:cxn>
                  <a:cxn ang="0">
                    <a:pos x="3" y="6"/>
                  </a:cxn>
                </a:cxnLst>
                <a:rect l="0" t="0" r="r" b="b"/>
                <a:pathLst>
                  <a:path w="48" h="67">
                    <a:moveTo>
                      <a:pt x="3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5" y="3"/>
                    </a:cubicBezTo>
                    <a:cubicBezTo>
                      <a:pt x="5" y="3"/>
                      <a:pt x="5" y="3"/>
                      <a:pt x="5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3"/>
                      <a:pt x="3" y="3"/>
                      <a:pt x="3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6" y="5"/>
                      <a:pt x="8" y="6"/>
                      <a:pt x="9" y="7"/>
                    </a:cubicBezTo>
                    <a:cubicBezTo>
                      <a:pt x="10" y="8"/>
                      <a:pt x="12" y="9"/>
                      <a:pt x="13" y="10"/>
                    </a:cubicBezTo>
                    <a:cubicBezTo>
                      <a:pt x="41" y="50"/>
                      <a:pt x="41" y="50"/>
                      <a:pt x="41" y="50"/>
                    </a:cubicBezTo>
                    <a:cubicBezTo>
                      <a:pt x="42" y="52"/>
                      <a:pt x="44" y="57"/>
                      <a:pt x="44" y="61"/>
                    </a:cubicBezTo>
                    <a:cubicBezTo>
                      <a:pt x="44" y="61"/>
                      <a:pt x="44" y="61"/>
                      <a:pt x="44" y="61"/>
                    </a:cubicBezTo>
                    <a:cubicBezTo>
                      <a:pt x="44" y="62"/>
                      <a:pt x="44" y="63"/>
                      <a:pt x="44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4" y="63"/>
                      <a:pt x="44" y="63"/>
                      <a:pt x="44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4"/>
                      <a:pt x="45" y="64"/>
                      <a:pt x="45" y="64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3"/>
                      <a:pt x="45" y="63"/>
                    </a:cubicBezTo>
                    <a:cubicBezTo>
                      <a:pt x="45" y="63"/>
                      <a:pt x="45" y="62"/>
                      <a:pt x="44" y="62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41" y="64"/>
                      <a:pt x="41" y="64"/>
                      <a:pt x="41" y="64"/>
                    </a:cubicBezTo>
                    <a:cubicBezTo>
                      <a:pt x="41" y="65"/>
                      <a:pt x="42" y="65"/>
                      <a:pt x="42" y="66"/>
                    </a:cubicBezTo>
                    <a:cubicBezTo>
                      <a:pt x="43" y="66"/>
                      <a:pt x="44" y="67"/>
                      <a:pt x="45" y="67"/>
                    </a:cubicBezTo>
                    <a:cubicBezTo>
                      <a:pt x="45" y="67"/>
                      <a:pt x="46" y="67"/>
                      <a:pt x="47" y="66"/>
                    </a:cubicBezTo>
                    <a:cubicBezTo>
                      <a:pt x="47" y="65"/>
                      <a:pt x="48" y="65"/>
                      <a:pt x="48" y="64"/>
                    </a:cubicBezTo>
                    <a:cubicBezTo>
                      <a:pt x="48" y="63"/>
                      <a:pt x="48" y="62"/>
                      <a:pt x="48" y="61"/>
                    </a:cubicBezTo>
                    <a:cubicBezTo>
                      <a:pt x="48" y="61"/>
                      <a:pt x="48" y="61"/>
                      <a:pt x="48" y="61"/>
                    </a:cubicBezTo>
                    <a:cubicBezTo>
                      <a:pt x="48" y="56"/>
                      <a:pt x="47" y="51"/>
                      <a:pt x="44" y="48"/>
                    </a:cubicBezTo>
                    <a:cubicBezTo>
                      <a:pt x="16" y="8"/>
                      <a:pt x="16" y="8"/>
                      <a:pt x="16" y="8"/>
                    </a:cubicBezTo>
                    <a:cubicBezTo>
                      <a:pt x="15" y="6"/>
                      <a:pt x="13" y="5"/>
                      <a:pt x="12" y="3"/>
                    </a:cubicBezTo>
                    <a:cubicBezTo>
                      <a:pt x="10" y="2"/>
                      <a:pt x="8" y="1"/>
                      <a:pt x="7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4" y="0"/>
                      <a:pt x="4" y="0"/>
                    </a:cubicBezTo>
                    <a:cubicBezTo>
                      <a:pt x="3" y="0"/>
                      <a:pt x="2" y="0"/>
                      <a:pt x="1" y="1"/>
                    </a:cubicBezTo>
                    <a:cubicBezTo>
                      <a:pt x="0" y="1"/>
                      <a:pt x="0" y="2"/>
                      <a:pt x="0" y="3"/>
                    </a:cubicBezTo>
                    <a:cubicBezTo>
                      <a:pt x="0" y="4"/>
                      <a:pt x="1" y="5"/>
                      <a:pt x="2" y="7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2" name="Freeform 287"/>
              <p:cNvSpPr>
                <a:spLocks/>
              </p:cNvSpPr>
              <p:nvPr/>
            </p:nvSpPr>
            <p:spPr bwMode="auto">
              <a:xfrm>
                <a:off x="-1485900" y="4025896"/>
                <a:ext cx="304799" cy="200025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5" y="5"/>
                  </a:cxn>
                  <a:cxn ang="0">
                    <a:pos x="9" y="4"/>
                  </a:cxn>
                  <a:cxn ang="0">
                    <a:pos x="16" y="8"/>
                  </a:cxn>
                  <a:cxn ang="0">
                    <a:pos x="27" y="9"/>
                  </a:cxn>
                  <a:cxn ang="0">
                    <a:pos x="32" y="7"/>
                  </a:cxn>
                  <a:cxn ang="0">
                    <a:pos x="66" y="27"/>
                  </a:cxn>
                  <a:cxn ang="0">
                    <a:pos x="69" y="33"/>
                  </a:cxn>
                  <a:cxn ang="0">
                    <a:pos x="69" y="33"/>
                  </a:cxn>
                  <a:cxn ang="0">
                    <a:pos x="69" y="34"/>
                  </a:cxn>
                  <a:cxn ang="0">
                    <a:pos x="76" y="50"/>
                  </a:cxn>
                  <a:cxn ang="0">
                    <a:pos x="77" y="51"/>
                  </a:cxn>
                  <a:cxn ang="0">
                    <a:pos x="77" y="51"/>
                  </a:cxn>
                  <a:cxn ang="0">
                    <a:pos x="78" y="51"/>
                  </a:cxn>
                  <a:cxn ang="0">
                    <a:pos x="79" y="51"/>
                  </a:cxn>
                  <a:cxn ang="0">
                    <a:pos x="77" y="51"/>
                  </a:cxn>
                  <a:cxn ang="0">
                    <a:pos x="77" y="49"/>
                  </a:cxn>
                  <a:cxn ang="0">
                    <a:pos x="78" y="49"/>
                  </a:cxn>
                  <a:cxn ang="0">
                    <a:pos x="78" y="51"/>
                  </a:cxn>
                  <a:cxn ang="0">
                    <a:pos x="78" y="49"/>
                  </a:cxn>
                  <a:cxn ang="0">
                    <a:pos x="78" y="49"/>
                  </a:cxn>
                  <a:cxn ang="0">
                    <a:pos x="79" y="49"/>
                  </a:cxn>
                  <a:cxn ang="0">
                    <a:pos x="61" y="39"/>
                  </a:cxn>
                  <a:cxn ang="0">
                    <a:pos x="49" y="39"/>
                  </a:cxn>
                  <a:cxn ang="0">
                    <a:pos x="42" y="43"/>
                  </a:cxn>
                  <a:cxn ang="0">
                    <a:pos x="26" y="23"/>
                  </a:cxn>
                  <a:cxn ang="0">
                    <a:pos x="16" y="16"/>
                  </a:cxn>
                  <a:cxn ang="0">
                    <a:pos x="6" y="15"/>
                  </a:cxn>
                  <a:cxn ang="0">
                    <a:pos x="4" y="8"/>
                  </a:cxn>
                  <a:cxn ang="0">
                    <a:pos x="0" y="9"/>
                  </a:cxn>
                  <a:cxn ang="0">
                    <a:pos x="3" y="18"/>
                  </a:cxn>
                  <a:cxn ang="0">
                    <a:pos x="16" y="21"/>
                  </a:cxn>
                  <a:cxn ang="0">
                    <a:pos x="22" y="25"/>
                  </a:cxn>
                  <a:cxn ang="0">
                    <a:pos x="42" y="47"/>
                  </a:cxn>
                  <a:cxn ang="0">
                    <a:pos x="51" y="43"/>
                  </a:cxn>
                  <a:cxn ang="0">
                    <a:pos x="59" y="43"/>
                  </a:cxn>
                  <a:cxn ang="0">
                    <a:pos x="78" y="53"/>
                  </a:cxn>
                  <a:cxn ang="0">
                    <a:pos x="81" y="51"/>
                  </a:cxn>
                  <a:cxn ang="0">
                    <a:pos x="79" y="47"/>
                  </a:cxn>
                  <a:cxn ang="0">
                    <a:pos x="73" y="34"/>
                  </a:cxn>
                  <a:cxn ang="0">
                    <a:pos x="73" y="34"/>
                  </a:cxn>
                  <a:cxn ang="0">
                    <a:pos x="73" y="33"/>
                  </a:cxn>
                  <a:cxn ang="0">
                    <a:pos x="68" y="23"/>
                  </a:cxn>
                  <a:cxn ang="0">
                    <a:pos x="32" y="3"/>
                  </a:cxn>
                  <a:cxn ang="0">
                    <a:pos x="24" y="6"/>
                  </a:cxn>
                  <a:cxn ang="0">
                    <a:pos x="19" y="5"/>
                  </a:cxn>
                  <a:cxn ang="0">
                    <a:pos x="9" y="0"/>
                  </a:cxn>
                  <a:cxn ang="0">
                    <a:pos x="1" y="2"/>
                  </a:cxn>
                  <a:cxn ang="0">
                    <a:pos x="0" y="9"/>
                  </a:cxn>
                </a:cxnLst>
                <a:rect l="0" t="0" r="r" b="b"/>
                <a:pathLst>
                  <a:path w="81" h="53">
                    <a:moveTo>
                      <a:pt x="2" y="9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6"/>
                      <a:pt x="5" y="5"/>
                    </a:cubicBezTo>
                    <a:cubicBezTo>
                      <a:pt x="5" y="4"/>
                      <a:pt x="6" y="4"/>
                      <a:pt x="6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4"/>
                      <a:pt x="12" y="5"/>
                      <a:pt x="13" y="5"/>
                    </a:cubicBezTo>
                    <a:cubicBezTo>
                      <a:pt x="14" y="6"/>
                      <a:pt x="15" y="7"/>
                      <a:pt x="16" y="8"/>
                    </a:cubicBezTo>
                    <a:cubicBezTo>
                      <a:pt x="18" y="9"/>
                      <a:pt x="20" y="10"/>
                      <a:pt x="22" y="10"/>
                    </a:cubicBezTo>
                    <a:cubicBezTo>
                      <a:pt x="24" y="10"/>
                      <a:pt x="25" y="10"/>
                      <a:pt x="27" y="9"/>
                    </a:cubicBezTo>
                    <a:cubicBezTo>
                      <a:pt x="28" y="8"/>
                      <a:pt x="28" y="8"/>
                      <a:pt x="28" y="8"/>
                    </a:cubicBezTo>
                    <a:cubicBezTo>
                      <a:pt x="29" y="7"/>
                      <a:pt x="31" y="7"/>
                      <a:pt x="32" y="7"/>
                    </a:cubicBezTo>
                    <a:cubicBezTo>
                      <a:pt x="33" y="7"/>
                      <a:pt x="34" y="7"/>
                      <a:pt x="35" y="8"/>
                    </a:cubicBezTo>
                    <a:cubicBezTo>
                      <a:pt x="66" y="27"/>
                      <a:pt x="66" y="27"/>
                      <a:pt x="66" y="27"/>
                    </a:cubicBezTo>
                    <a:cubicBezTo>
                      <a:pt x="66" y="28"/>
                      <a:pt x="67" y="28"/>
                      <a:pt x="68" y="30"/>
                    </a:cubicBezTo>
                    <a:cubicBezTo>
                      <a:pt x="69" y="31"/>
                      <a:pt x="69" y="32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3"/>
                      <a:pt x="69" y="33"/>
                      <a:pt x="69" y="33"/>
                    </a:cubicBezTo>
                    <a:cubicBezTo>
                      <a:pt x="69" y="34"/>
                      <a:pt x="69" y="34"/>
                      <a:pt x="69" y="34"/>
                    </a:cubicBezTo>
                    <a:cubicBezTo>
                      <a:pt x="69" y="38"/>
                      <a:pt x="70" y="42"/>
                      <a:pt x="72" y="45"/>
                    </a:cubicBezTo>
                    <a:cubicBezTo>
                      <a:pt x="76" y="50"/>
                      <a:pt x="76" y="50"/>
                      <a:pt x="76" y="50"/>
                    </a:cubicBezTo>
                    <a:cubicBezTo>
                      <a:pt x="76" y="50"/>
                      <a:pt x="77" y="50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7" y="51"/>
                      <a:pt x="77" y="51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7" y="50"/>
                      <a:pt x="77" y="50"/>
                      <a:pt x="77" y="51"/>
                    </a:cubicBezTo>
                    <a:cubicBezTo>
                      <a:pt x="79" y="51"/>
                      <a:pt x="79" y="51"/>
                      <a:pt x="79" y="51"/>
                    </a:cubicBezTo>
                    <a:cubicBezTo>
                      <a:pt x="77" y="49"/>
                      <a:pt x="77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7" y="49"/>
                    </a:cubicBezTo>
                    <a:cubicBezTo>
                      <a:pt x="78" y="51"/>
                      <a:pt x="78" y="51"/>
                      <a:pt x="78" y="51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79" y="49"/>
                      <a:pt x="79" y="49"/>
                      <a:pt x="79" y="49"/>
                    </a:cubicBezTo>
                    <a:cubicBezTo>
                      <a:pt x="78" y="49"/>
                      <a:pt x="78" y="49"/>
                      <a:pt x="78" y="49"/>
                    </a:cubicBezTo>
                    <a:cubicBezTo>
                      <a:pt x="61" y="39"/>
                      <a:pt x="61" y="39"/>
                      <a:pt x="61" y="39"/>
                    </a:cubicBezTo>
                    <a:cubicBezTo>
                      <a:pt x="59" y="39"/>
                      <a:pt x="57" y="38"/>
                      <a:pt x="55" y="38"/>
                    </a:cubicBezTo>
                    <a:cubicBezTo>
                      <a:pt x="53" y="38"/>
                      <a:pt x="51" y="39"/>
                      <a:pt x="49" y="39"/>
                    </a:cubicBezTo>
                    <a:cubicBezTo>
                      <a:pt x="44" y="43"/>
                      <a:pt x="44" y="43"/>
                      <a:pt x="44" y="43"/>
                    </a:cubicBezTo>
                    <a:cubicBezTo>
                      <a:pt x="43" y="43"/>
                      <a:pt x="43" y="43"/>
                      <a:pt x="42" y="43"/>
                    </a:cubicBezTo>
                    <a:cubicBezTo>
                      <a:pt x="41" y="43"/>
                      <a:pt x="39" y="42"/>
                      <a:pt x="38" y="41"/>
                    </a:cubicBezTo>
                    <a:cubicBezTo>
                      <a:pt x="26" y="23"/>
                      <a:pt x="26" y="23"/>
                      <a:pt x="26" y="23"/>
                    </a:cubicBezTo>
                    <a:cubicBezTo>
                      <a:pt x="25" y="21"/>
                      <a:pt x="23" y="19"/>
                      <a:pt x="21" y="18"/>
                    </a:cubicBezTo>
                    <a:cubicBezTo>
                      <a:pt x="20" y="17"/>
                      <a:pt x="18" y="17"/>
                      <a:pt x="16" y="16"/>
                    </a:cubicBezTo>
                    <a:cubicBezTo>
                      <a:pt x="8" y="16"/>
                      <a:pt x="8" y="16"/>
                      <a:pt x="8" y="16"/>
                    </a:cubicBezTo>
                    <a:cubicBezTo>
                      <a:pt x="7" y="17"/>
                      <a:pt x="6" y="16"/>
                      <a:pt x="6" y="15"/>
                    </a:cubicBezTo>
                    <a:cubicBezTo>
                      <a:pt x="5" y="14"/>
                      <a:pt x="4" y="13"/>
                      <a:pt x="4" y="12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9"/>
                      <a:pt x="2" y="9"/>
                      <a:pt x="2" y="9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0" y="14"/>
                      <a:pt x="1" y="17"/>
                      <a:pt x="3" y="18"/>
                    </a:cubicBezTo>
                    <a:cubicBezTo>
                      <a:pt x="4" y="20"/>
                      <a:pt x="6" y="21"/>
                      <a:pt x="8" y="21"/>
                    </a:cubicBezTo>
                    <a:cubicBezTo>
                      <a:pt x="16" y="21"/>
                      <a:pt x="16" y="21"/>
                      <a:pt x="16" y="21"/>
                    </a:cubicBezTo>
                    <a:cubicBezTo>
                      <a:pt x="17" y="21"/>
                      <a:pt x="18" y="21"/>
                      <a:pt x="19" y="22"/>
                    </a:cubicBezTo>
                    <a:cubicBezTo>
                      <a:pt x="21" y="23"/>
                      <a:pt x="22" y="24"/>
                      <a:pt x="22" y="25"/>
                    </a:cubicBezTo>
                    <a:cubicBezTo>
                      <a:pt x="35" y="43"/>
                      <a:pt x="35" y="43"/>
                      <a:pt x="35" y="43"/>
                    </a:cubicBezTo>
                    <a:cubicBezTo>
                      <a:pt x="36" y="46"/>
                      <a:pt x="39" y="47"/>
                      <a:pt x="42" y="47"/>
                    </a:cubicBezTo>
                    <a:cubicBezTo>
                      <a:pt x="43" y="47"/>
                      <a:pt x="44" y="47"/>
                      <a:pt x="46" y="46"/>
                    </a:cubicBezTo>
                    <a:cubicBezTo>
                      <a:pt x="51" y="43"/>
                      <a:pt x="51" y="43"/>
                      <a:pt x="51" y="43"/>
                    </a:cubicBezTo>
                    <a:cubicBezTo>
                      <a:pt x="52" y="43"/>
                      <a:pt x="54" y="42"/>
                      <a:pt x="55" y="42"/>
                    </a:cubicBezTo>
                    <a:cubicBezTo>
                      <a:pt x="57" y="42"/>
                      <a:pt x="58" y="43"/>
                      <a:pt x="59" y="43"/>
                    </a:cubicBezTo>
                    <a:cubicBezTo>
                      <a:pt x="76" y="52"/>
                      <a:pt x="76" y="52"/>
                      <a:pt x="76" y="52"/>
                    </a:cubicBezTo>
                    <a:cubicBezTo>
                      <a:pt x="77" y="53"/>
                      <a:pt x="77" y="53"/>
                      <a:pt x="78" y="53"/>
                    </a:cubicBezTo>
                    <a:cubicBezTo>
                      <a:pt x="79" y="53"/>
                      <a:pt x="80" y="53"/>
                      <a:pt x="80" y="53"/>
                    </a:cubicBezTo>
                    <a:cubicBezTo>
                      <a:pt x="81" y="52"/>
                      <a:pt x="81" y="51"/>
                      <a:pt x="81" y="51"/>
                    </a:cubicBezTo>
                    <a:cubicBezTo>
                      <a:pt x="81" y="50"/>
                      <a:pt x="81" y="49"/>
                      <a:pt x="81" y="49"/>
                    </a:cubicBezTo>
                    <a:cubicBezTo>
                      <a:pt x="80" y="48"/>
                      <a:pt x="80" y="48"/>
                      <a:pt x="79" y="47"/>
                    </a:cubicBezTo>
                    <a:cubicBezTo>
                      <a:pt x="76" y="42"/>
                      <a:pt x="76" y="42"/>
                      <a:pt x="76" y="42"/>
                    </a:cubicBezTo>
                    <a:cubicBezTo>
                      <a:pt x="74" y="40"/>
                      <a:pt x="73" y="36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4"/>
                      <a:pt x="73" y="34"/>
                      <a:pt x="73" y="34"/>
                    </a:cubicBezTo>
                    <a:cubicBezTo>
                      <a:pt x="73" y="33"/>
                      <a:pt x="73" y="33"/>
                      <a:pt x="73" y="33"/>
                    </a:cubicBezTo>
                    <a:cubicBezTo>
                      <a:pt x="73" y="31"/>
                      <a:pt x="73" y="29"/>
                      <a:pt x="72" y="28"/>
                    </a:cubicBezTo>
                    <a:cubicBezTo>
                      <a:pt x="71" y="26"/>
                      <a:pt x="70" y="24"/>
                      <a:pt x="68" y="23"/>
                    </a:cubicBezTo>
                    <a:cubicBezTo>
                      <a:pt x="37" y="4"/>
                      <a:pt x="37" y="4"/>
                      <a:pt x="37" y="4"/>
                    </a:cubicBezTo>
                    <a:cubicBezTo>
                      <a:pt x="36" y="3"/>
                      <a:pt x="34" y="3"/>
                      <a:pt x="32" y="3"/>
                    </a:cubicBezTo>
                    <a:cubicBezTo>
                      <a:pt x="30" y="3"/>
                      <a:pt x="28" y="3"/>
                      <a:pt x="26" y="4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24" y="6"/>
                      <a:pt x="23" y="6"/>
                      <a:pt x="22" y="6"/>
                    </a:cubicBezTo>
                    <a:cubicBezTo>
                      <a:pt x="21" y="6"/>
                      <a:pt x="20" y="6"/>
                      <a:pt x="19" y="5"/>
                    </a:cubicBezTo>
                    <a:cubicBezTo>
                      <a:pt x="18" y="3"/>
                      <a:pt x="17" y="2"/>
                      <a:pt x="15" y="1"/>
                    </a:cubicBezTo>
                    <a:cubicBezTo>
                      <a:pt x="13" y="0"/>
                      <a:pt x="11" y="0"/>
                      <a:pt x="9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4" y="0"/>
                      <a:pt x="2" y="1"/>
                      <a:pt x="1" y="2"/>
                    </a:cubicBezTo>
                    <a:cubicBezTo>
                      <a:pt x="0" y="4"/>
                      <a:pt x="0" y="6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lnTo>
                      <a:pt x="2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3" name="Freeform 288"/>
              <p:cNvSpPr>
                <a:spLocks/>
              </p:cNvSpPr>
              <p:nvPr/>
            </p:nvSpPr>
            <p:spPr bwMode="auto">
              <a:xfrm>
                <a:off x="-1711326" y="4251321"/>
                <a:ext cx="574674" cy="568324"/>
              </a:xfrm>
              <a:custGeom>
                <a:avLst/>
                <a:gdLst/>
                <a:ahLst/>
                <a:cxnLst>
                  <a:cxn ang="0">
                    <a:pos x="5" y="60"/>
                  </a:cxn>
                  <a:cxn ang="0">
                    <a:pos x="6" y="53"/>
                  </a:cxn>
                  <a:cxn ang="0">
                    <a:pos x="45" y="21"/>
                  </a:cxn>
                  <a:cxn ang="0">
                    <a:pos x="50" y="20"/>
                  </a:cxn>
                  <a:cxn ang="0">
                    <a:pos x="59" y="12"/>
                  </a:cxn>
                  <a:cxn ang="0">
                    <a:pos x="62" y="5"/>
                  </a:cxn>
                  <a:cxn ang="0">
                    <a:pos x="65" y="4"/>
                  </a:cxn>
                  <a:cxn ang="0">
                    <a:pos x="82" y="8"/>
                  </a:cxn>
                  <a:cxn ang="0">
                    <a:pos x="83" y="14"/>
                  </a:cxn>
                  <a:cxn ang="0">
                    <a:pos x="89" y="25"/>
                  </a:cxn>
                  <a:cxn ang="0">
                    <a:pos x="99" y="32"/>
                  </a:cxn>
                  <a:cxn ang="0">
                    <a:pos x="104" y="25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4" y="4"/>
                  </a:cxn>
                  <a:cxn ang="0">
                    <a:pos x="103" y="4"/>
                  </a:cxn>
                  <a:cxn ang="0">
                    <a:pos x="103" y="3"/>
                  </a:cxn>
                  <a:cxn ang="0">
                    <a:pos x="103" y="3"/>
                  </a:cxn>
                  <a:cxn ang="0">
                    <a:pos x="103" y="4"/>
                  </a:cxn>
                  <a:cxn ang="0">
                    <a:pos x="103" y="4"/>
                  </a:cxn>
                  <a:cxn ang="0">
                    <a:pos x="104" y="5"/>
                  </a:cxn>
                  <a:cxn ang="0">
                    <a:pos x="119" y="26"/>
                  </a:cxn>
                  <a:cxn ang="0">
                    <a:pos x="120" y="37"/>
                  </a:cxn>
                  <a:cxn ang="0">
                    <a:pos x="124" y="50"/>
                  </a:cxn>
                  <a:cxn ang="0">
                    <a:pos x="147" y="83"/>
                  </a:cxn>
                  <a:cxn ang="0">
                    <a:pos x="148" y="108"/>
                  </a:cxn>
                  <a:cxn ang="0">
                    <a:pos x="127" y="145"/>
                  </a:cxn>
                  <a:cxn ang="0">
                    <a:pos x="122" y="147"/>
                  </a:cxn>
                  <a:cxn ang="0">
                    <a:pos x="72" y="111"/>
                  </a:cxn>
                  <a:cxn ang="0">
                    <a:pos x="31" y="125"/>
                  </a:cxn>
                  <a:cxn ang="0">
                    <a:pos x="27" y="122"/>
                  </a:cxn>
                  <a:cxn ang="0">
                    <a:pos x="3" y="61"/>
                  </a:cxn>
                  <a:cxn ang="0">
                    <a:pos x="23" y="124"/>
                  </a:cxn>
                  <a:cxn ang="0">
                    <a:pos x="32" y="129"/>
                  </a:cxn>
                  <a:cxn ang="0">
                    <a:pos x="72" y="115"/>
                  </a:cxn>
                  <a:cxn ang="0">
                    <a:pos x="119" y="150"/>
                  </a:cxn>
                  <a:cxn ang="0">
                    <a:pos x="130" y="148"/>
                  </a:cxn>
                  <a:cxn ang="0">
                    <a:pos x="153" y="108"/>
                  </a:cxn>
                  <a:cxn ang="0">
                    <a:pos x="151" y="82"/>
                  </a:cxn>
                  <a:cxn ang="0">
                    <a:pos x="128" y="47"/>
                  </a:cxn>
                  <a:cxn ang="0">
                    <a:pos x="125" y="37"/>
                  </a:cxn>
                  <a:cxn ang="0">
                    <a:pos x="123" y="25"/>
                  </a:cxn>
                  <a:cxn ang="0">
                    <a:pos x="107" y="2"/>
                  </a:cxn>
                  <a:cxn ang="0">
                    <a:pos x="103" y="0"/>
                  </a:cxn>
                  <a:cxn ang="0">
                    <a:pos x="100" y="3"/>
                  </a:cxn>
                  <a:cxn ang="0">
                    <a:pos x="100" y="25"/>
                  </a:cxn>
                  <a:cxn ang="0">
                    <a:pos x="99" y="27"/>
                  </a:cxn>
                  <a:cxn ang="0">
                    <a:pos x="99" y="28"/>
                  </a:cxn>
                  <a:cxn ang="0">
                    <a:pos x="99" y="27"/>
                  </a:cxn>
                  <a:cxn ang="0">
                    <a:pos x="99" y="27"/>
                  </a:cxn>
                  <a:cxn ang="0">
                    <a:pos x="91" y="22"/>
                  </a:cxn>
                  <a:cxn ang="0">
                    <a:pos x="88" y="14"/>
                  </a:cxn>
                  <a:cxn ang="0">
                    <a:pos x="86" y="5"/>
                  </a:cxn>
                  <a:cxn ang="0">
                    <a:pos x="66" y="0"/>
                  </a:cxn>
                  <a:cxn ang="0">
                    <a:pos x="59" y="2"/>
                  </a:cxn>
                  <a:cxn ang="0">
                    <a:pos x="55" y="11"/>
                  </a:cxn>
                  <a:cxn ang="0">
                    <a:pos x="50" y="16"/>
                  </a:cxn>
                  <a:cxn ang="0">
                    <a:pos x="43" y="17"/>
                  </a:cxn>
                  <a:cxn ang="0">
                    <a:pos x="3" y="49"/>
                  </a:cxn>
                  <a:cxn ang="0">
                    <a:pos x="1" y="61"/>
                  </a:cxn>
                </a:cxnLst>
                <a:rect l="0" t="0" r="r" b="b"/>
                <a:pathLst>
                  <a:path w="153" h="151">
                    <a:moveTo>
                      <a:pt x="3" y="61"/>
                    </a:moveTo>
                    <a:cubicBezTo>
                      <a:pt x="5" y="60"/>
                      <a:pt x="5" y="60"/>
                      <a:pt x="5" y="60"/>
                    </a:cubicBezTo>
                    <a:cubicBezTo>
                      <a:pt x="4" y="59"/>
                      <a:pt x="4" y="58"/>
                      <a:pt x="4" y="58"/>
                    </a:cubicBezTo>
                    <a:cubicBezTo>
                      <a:pt x="4" y="55"/>
                      <a:pt x="5" y="53"/>
                      <a:pt x="6" y="53"/>
                    </a:cubicBezTo>
                    <a:cubicBezTo>
                      <a:pt x="41" y="23"/>
                      <a:pt x="41" y="23"/>
                      <a:pt x="41" y="23"/>
                    </a:cubicBezTo>
                    <a:cubicBezTo>
                      <a:pt x="42" y="22"/>
                      <a:pt x="43" y="22"/>
                      <a:pt x="45" y="21"/>
                    </a:cubicBezTo>
                    <a:cubicBezTo>
                      <a:pt x="46" y="20"/>
                      <a:pt x="48" y="20"/>
                      <a:pt x="49" y="20"/>
                    </a:cubicBezTo>
                    <a:cubicBezTo>
                      <a:pt x="50" y="20"/>
                      <a:pt x="50" y="20"/>
                      <a:pt x="50" y="20"/>
                    </a:cubicBezTo>
                    <a:cubicBezTo>
                      <a:pt x="52" y="20"/>
                      <a:pt x="54" y="19"/>
                      <a:pt x="55" y="18"/>
                    </a:cubicBezTo>
                    <a:cubicBezTo>
                      <a:pt x="57" y="16"/>
                      <a:pt x="58" y="14"/>
                      <a:pt x="59" y="12"/>
                    </a:cubicBezTo>
                    <a:cubicBezTo>
                      <a:pt x="60" y="8"/>
                      <a:pt x="60" y="8"/>
                      <a:pt x="60" y="8"/>
                    </a:cubicBezTo>
                    <a:cubicBezTo>
                      <a:pt x="61" y="7"/>
                      <a:pt x="61" y="6"/>
                      <a:pt x="62" y="5"/>
                    </a:cubicBezTo>
                    <a:cubicBezTo>
                      <a:pt x="63" y="4"/>
                      <a:pt x="64" y="4"/>
                      <a:pt x="65" y="4"/>
                    </a:cubicBezTo>
                    <a:cubicBezTo>
                      <a:pt x="65" y="4"/>
                      <a:pt x="65" y="4"/>
                      <a:pt x="65" y="4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1" y="6"/>
                      <a:pt x="81" y="7"/>
                      <a:pt x="82" y="8"/>
                    </a:cubicBezTo>
                    <a:cubicBezTo>
                      <a:pt x="83" y="9"/>
                      <a:pt x="83" y="10"/>
                      <a:pt x="83" y="12"/>
                    </a:cubicBezTo>
                    <a:cubicBezTo>
                      <a:pt x="83" y="14"/>
                      <a:pt x="83" y="14"/>
                      <a:pt x="83" y="14"/>
                    </a:cubicBezTo>
                    <a:cubicBezTo>
                      <a:pt x="83" y="16"/>
                      <a:pt x="84" y="18"/>
                      <a:pt x="85" y="20"/>
                    </a:cubicBezTo>
                    <a:cubicBezTo>
                      <a:pt x="86" y="22"/>
                      <a:pt x="87" y="24"/>
                      <a:pt x="89" y="25"/>
                    </a:cubicBezTo>
                    <a:cubicBezTo>
                      <a:pt x="96" y="31"/>
                      <a:pt x="96" y="31"/>
                      <a:pt x="96" y="31"/>
                    </a:cubicBezTo>
                    <a:cubicBezTo>
                      <a:pt x="97" y="31"/>
                      <a:pt x="98" y="32"/>
                      <a:pt x="99" y="32"/>
                    </a:cubicBezTo>
                    <a:cubicBezTo>
                      <a:pt x="101" y="32"/>
                      <a:pt x="102" y="31"/>
                      <a:pt x="103" y="30"/>
                    </a:cubicBezTo>
                    <a:cubicBezTo>
                      <a:pt x="104" y="28"/>
                      <a:pt x="104" y="27"/>
                      <a:pt x="104" y="25"/>
                    </a:cubicBezTo>
                    <a:cubicBezTo>
                      <a:pt x="104" y="6"/>
                      <a:pt x="104" y="6"/>
                      <a:pt x="104" y="6"/>
                    </a:cubicBezTo>
                    <a:cubicBezTo>
                      <a:pt x="104" y="5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4" y="4"/>
                      <a:pt x="104" y="4"/>
                      <a:pt x="104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3"/>
                      <a:pt x="103" y="3"/>
                      <a:pt x="103" y="3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3" y="4"/>
                    </a:cubicBezTo>
                    <a:cubicBezTo>
                      <a:pt x="103" y="4"/>
                      <a:pt x="103" y="4"/>
                      <a:pt x="104" y="5"/>
                    </a:cubicBezTo>
                    <a:cubicBezTo>
                      <a:pt x="117" y="22"/>
                      <a:pt x="117" y="22"/>
                      <a:pt x="117" y="22"/>
                    </a:cubicBezTo>
                    <a:cubicBezTo>
                      <a:pt x="118" y="23"/>
                      <a:pt x="119" y="24"/>
                      <a:pt x="119" y="26"/>
                    </a:cubicBezTo>
                    <a:cubicBezTo>
                      <a:pt x="120" y="28"/>
                      <a:pt x="120" y="30"/>
                      <a:pt x="120" y="32"/>
                    </a:cubicBezTo>
                    <a:cubicBezTo>
                      <a:pt x="120" y="37"/>
                      <a:pt x="120" y="37"/>
                      <a:pt x="120" y="37"/>
                    </a:cubicBezTo>
                    <a:cubicBezTo>
                      <a:pt x="120" y="39"/>
                      <a:pt x="121" y="42"/>
                      <a:pt x="121" y="44"/>
                    </a:cubicBezTo>
                    <a:cubicBezTo>
                      <a:pt x="122" y="46"/>
                      <a:pt x="123" y="48"/>
                      <a:pt x="124" y="50"/>
                    </a:cubicBezTo>
                    <a:cubicBezTo>
                      <a:pt x="145" y="78"/>
                      <a:pt x="145" y="78"/>
                      <a:pt x="145" y="78"/>
                    </a:cubicBezTo>
                    <a:cubicBezTo>
                      <a:pt x="146" y="79"/>
                      <a:pt x="147" y="81"/>
                      <a:pt x="147" y="83"/>
                    </a:cubicBezTo>
                    <a:cubicBezTo>
                      <a:pt x="148" y="85"/>
                      <a:pt x="148" y="87"/>
                      <a:pt x="148" y="89"/>
                    </a:cubicBezTo>
                    <a:cubicBezTo>
                      <a:pt x="148" y="108"/>
                      <a:pt x="148" y="108"/>
                      <a:pt x="148" y="108"/>
                    </a:cubicBezTo>
                    <a:cubicBezTo>
                      <a:pt x="148" y="111"/>
                      <a:pt x="147" y="117"/>
                      <a:pt x="145" y="119"/>
                    </a:cubicBezTo>
                    <a:cubicBezTo>
                      <a:pt x="127" y="145"/>
                      <a:pt x="127" y="145"/>
                      <a:pt x="127" y="145"/>
                    </a:cubicBezTo>
                    <a:cubicBezTo>
                      <a:pt x="126" y="147"/>
                      <a:pt x="125" y="147"/>
                      <a:pt x="124" y="147"/>
                    </a:cubicBezTo>
                    <a:cubicBezTo>
                      <a:pt x="123" y="147"/>
                      <a:pt x="123" y="147"/>
                      <a:pt x="122" y="147"/>
                    </a:cubicBezTo>
                    <a:cubicBezTo>
                      <a:pt x="79" y="113"/>
                      <a:pt x="79" y="113"/>
                      <a:pt x="79" y="113"/>
                    </a:cubicBezTo>
                    <a:cubicBezTo>
                      <a:pt x="77" y="111"/>
                      <a:pt x="74" y="111"/>
                      <a:pt x="72" y="111"/>
                    </a:cubicBezTo>
                    <a:cubicBezTo>
                      <a:pt x="70" y="111"/>
                      <a:pt x="69" y="111"/>
                      <a:pt x="68" y="111"/>
                    </a:cubicBezTo>
                    <a:cubicBezTo>
                      <a:pt x="31" y="125"/>
                      <a:pt x="31" y="125"/>
                      <a:pt x="31" y="125"/>
                    </a:cubicBezTo>
                    <a:cubicBezTo>
                      <a:pt x="30" y="125"/>
                      <a:pt x="30" y="125"/>
                      <a:pt x="30" y="125"/>
                    </a:cubicBezTo>
                    <a:cubicBezTo>
                      <a:pt x="29" y="125"/>
                      <a:pt x="27" y="124"/>
                      <a:pt x="27" y="122"/>
                    </a:cubicBezTo>
                    <a:cubicBezTo>
                      <a:pt x="5" y="60"/>
                      <a:pt x="5" y="60"/>
                      <a:pt x="5" y="60"/>
                    </a:cubicBezTo>
                    <a:cubicBezTo>
                      <a:pt x="3" y="61"/>
                      <a:pt x="3" y="61"/>
                      <a:pt x="3" y="61"/>
                    </a:cubicBezTo>
                    <a:cubicBezTo>
                      <a:pt x="1" y="61"/>
                      <a:pt x="1" y="61"/>
                      <a:pt x="1" y="61"/>
                    </a:cubicBezTo>
                    <a:cubicBezTo>
                      <a:pt x="23" y="124"/>
                      <a:pt x="23" y="124"/>
                      <a:pt x="23" y="124"/>
                    </a:cubicBezTo>
                    <a:cubicBezTo>
                      <a:pt x="24" y="127"/>
                      <a:pt x="27" y="130"/>
                      <a:pt x="30" y="130"/>
                    </a:cubicBezTo>
                    <a:cubicBezTo>
                      <a:pt x="31" y="130"/>
                      <a:pt x="32" y="130"/>
                      <a:pt x="32" y="129"/>
                    </a:cubicBezTo>
                    <a:cubicBezTo>
                      <a:pt x="70" y="115"/>
                      <a:pt x="70" y="115"/>
                      <a:pt x="70" y="115"/>
                    </a:cubicBezTo>
                    <a:cubicBezTo>
                      <a:pt x="70" y="115"/>
                      <a:pt x="71" y="115"/>
                      <a:pt x="72" y="115"/>
                    </a:cubicBezTo>
                    <a:cubicBezTo>
                      <a:pt x="73" y="115"/>
                      <a:pt x="76" y="116"/>
                      <a:pt x="77" y="117"/>
                    </a:cubicBezTo>
                    <a:cubicBezTo>
                      <a:pt x="119" y="150"/>
                      <a:pt x="119" y="150"/>
                      <a:pt x="119" y="150"/>
                    </a:cubicBezTo>
                    <a:cubicBezTo>
                      <a:pt x="121" y="151"/>
                      <a:pt x="122" y="151"/>
                      <a:pt x="124" y="151"/>
                    </a:cubicBezTo>
                    <a:cubicBezTo>
                      <a:pt x="126" y="151"/>
                      <a:pt x="129" y="150"/>
                      <a:pt x="130" y="148"/>
                    </a:cubicBezTo>
                    <a:cubicBezTo>
                      <a:pt x="149" y="121"/>
                      <a:pt x="149" y="121"/>
                      <a:pt x="149" y="121"/>
                    </a:cubicBezTo>
                    <a:cubicBezTo>
                      <a:pt x="151" y="118"/>
                      <a:pt x="152" y="113"/>
                      <a:pt x="153" y="108"/>
                    </a:cubicBezTo>
                    <a:cubicBezTo>
                      <a:pt x="153" y="89"/>
                      <a:pt x="153" y="89"/>
                      <a:pt x="153" y="89"/>
                    </a:cubicBezTo>
                    <a:cubicBezTo>
                      <a:pt x="153" y="86"/>
                      <a:pt x="152" y="84"/>
                      <a:pt x="151" y="82"/>
                    </a:cubicBezTo>
                    <a:cubicBezTo>
                      <a:pt x="151" y="79"/>
                      <a:pt x="150" y="77"/>
                      <a:pt x="149" y="76"/>
                    </a:cubicBezTo>
                    <a:cubicBezTo>
                      <a:pt x="128" y="47"/>
                      <a:pt x="128" y="47"/>
                      <a:pt x="128" y="47"/>
                    </a:cubicBezTo>
                    <a:cubicBezTo>
                      <a:pt x="127" y="46"/>
                      <a:pt x="126" y="45"/>
                      <a:pt x="126" y="43"/>
                    </a:cubicBezTo>
                    <a:cubicBezTo>
                      <a:pt x="125" y="41"/>
                      <a:pt x="125" y="39"/>
                      <a:pt x="125" y="37"/>
                    </a:cubicBezTo>
                    <a:cubicBezTo>
                      <a:pt x="125" y="32"/>
                      <a:pt x="125" y="32"/>
                      <a:pt x="125" y="32"/>
                    </a:cubicBezTo>
                    <a:cubicBezTo>
                      <a:pt x="125" y="30"/>
                      <a:pt x="124" y="27"/>
                      <a:pt x="123" y="25"/>
                    </a:cubicBezTo>
                    <a:cubicBezTo>
                      <a:pt x="123" y="23"/>
                      <a:pt x="122" y="21"/>
                      <a:pt x="120" y="19"/>
                    </a:cubicBezTo>
                    <a:cubicBezTo>
                      <a:pt x="107" y="2"/>
                      <a:pt x="107" y="2"/>
                      <a:pt x="107" y="2"/>
                    </a:cubicBezTo>
                    <a:cubicBezTo>
                      <a:pt x="107" y="2"/>
                      <a:pt x="106" y="1"/>
                      <a:pt x="105" y="1"/>
                    </a:cubicBezTo>
                    <a:cubicBezTo>
                      <a:pt x="105" y="0"/>
                      <a:pt x="104" y="0"/>
                      <a:pt x="103" y="0"/>
                    </a:cubicBezTo>
                    <a:cubicBezTo>
                      <a:pt x="103" y="0"/>
                      <a:pt x="102" y="0"/>
                      <a:pt x="101" y="1"/>
                    </a:cubicBezTo>
                    <a:cubicBezTo>
                      <a:pt x="100" y="1"/>
                      <a:pt x="100" y="2"/>
                      <a:pt x="100" y="3"/>
                    </a:cubicBezTo>
                    <a:cubicBezTo>
                      <a:pt x="100" y="4"/>
                      <a:pt x="100" y="5"/>
                      <a:pt x="100" y="6"/>
                    </a:cubicBezTo>
                    <a:cubicBezTo>
                      <a:pt x="100" y="25"/>
                      <a:pt x="100" y="25"/>
                      <a:pt x="100" y="25"/>
                    </a:cubicBezTo>
                    <a:cubicBezTo>
                      <a:pt x="100" y="26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8"/>
                      <a:pt x="99" y="28"/>
                      <a:pt x="99" y="28"/>
                    </a:cubicBezTo>
                    <a:cubicBezTo>
                      <a:pt x="99" y="27"/>
                      <a:pt x="99" y="27"/>
                      <a:pt x="99" y="27"/>
                    </a:cubicBezTo>
                    <a:cubicBezTo>
                      <a:pt x="99" y="27"/>
                      <a:pt x="99" y="27"/>
                      <a:pt x="98" y="27"/>
                    </a:cubicBezTo>
                    <a:cubicBezTo>
                      <a:pt x="91" y="22"/>
                      <a:pt x="91" y="22"/>
                      <a:pt x="91" y="22"/>
                    </a:cubicBezTo>
                    <a:cubicBezTo>
                      <a:pt x="90" y="21"/>
                      <a:pt x="89" y="20"/>
                      <a:pt x="89" y="18"/>
                    </a:cubicBezTo>
                    <a:cubicBezTo>
                      <a:pt x="88" y="17"/>
                      <a:pt x="88" y="15"/>
                      <a:pt x="88" y="14"/>
                    </a:cubicBezTo>
                    <a:cubicBezTo>
                      <a:pt x="88" y="12"/>
                      <a:pt x="88" y="12"/>
                      <a:pt x="88" y="12"/>
                    </a:cubicBezTo>
                    <a:cubicBezTo>
                      <a:pt x="88" y="9"/>
                      <a:pt x="87" y="7"/>
                      <a:pt x="86" y="5"/>
                    </a:cubicBezTo>
                    <a:cubicBezTo>
                      <a:pt x="85" y="4"/>
                      <a:pt x="83" y="2"/>
                      <a:pt x="81" y="2"/>
                    </a:cubicBezTo>
                    <a:cubicBezTo>
                      <a:pt x="66" y="0"/>
                      <a:pt x="66" y="0"/>
                      <a:pt x="66" y="0"/>
                    </a:cubicBezTo>
                    <a:cubicBezTo>
                      <a:pt x="65" y="0"/>
                      <a:pt x="65" y="0"/>
                      <a:pt x="65" y="0"/>
                    </a:cubicBezTo>
                    <a:cubicBezTo>
                      <a:pt x="63" y="0"/>
                      <a:pt x="61" y="1"/>
                      <a:pt x="59" y="2"/>
                    </a:cubicBezTo>
                    <a:cubicBezTo>
                      <a:pt x="58" y="3"/>
                      <a:pt x="57" y="5"/>
                      <a:pt x="56" y="7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2"/>
                      <a:pt x="53" y="14"/>
                      <a:pt x="52" y="14"/>
                    </a:cubicBezTo>
                    <a:cubicBezTo>
                      <a:pt x="51" y="15"/>
                      <a:pt x="50" y="16"/>
                      <a:pt x="50" y="16"/>
                    </a:cubicBezTo>
                    <a:cubicBezTo>
                      <a:pt x="49" y="16"/>
                      <a:pt x="49" y="16"/>
                      <a:pt x="49" y="16"/>
                    </a:cubicBezTo>
                    <a:cubicBezTo>
                      <a:pt x="47" y="16"/>
                      <a:pt x="45" y="16"/>
                      <a:pt x="43" y="17"/>
                    </a:cubicBezTo>
                    <a:cubicBezTo>
                      <a:pt x="41" y="18"/>
                      <a:pt x="40" y="19"/>
                      <a:pt x="38" y="20"/>
                    </a:cubicBezTo>
                    <a:cubicBezTo>
                      <a:pt x="3" y="49"/>
                      <a:pt x="3" y="49"/>
                      <a:pt x="3" y="49"/>
                    </a:cubicBezTo>
                    <a:cubicBezTo>
                      <a:pt x="1" y="51"/>
                      <a:pt x="0" y="54"/>
                      <a:pt x="0" y="58"/>
                    </a:cubicBezTo>
                    <a:cubicBezTo>
                      <a:pt x="0" y="59"/>
                      <a:pt x="0" y="60"/>
                      <a:pt x="1" y="61"/>
                    </a:cubicBezTo>
                    <a:lnTo>
                      <a:pt x="3" y="6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4" name="Freeform 289"/>
              <p:cNvSpPr>
                <a:spLocks/>
              </p:cNvSpPr>
              <p:nvPr/>
            </p:nvSpPr>
            <p:spPr bwMode="auto">
              <a:xfrm>
                <a:off x="-5230812" y="2525710"/>
                <a:ext cx="52388" cy="47625"/>
              </a:xfrm>
              <a:custGeom>
                <a:avLst/>
                <a:gdLst/>
                <a:ahLst/>
                <a:cxnLst>
                  <a:cxn ang="0">
                    <a:pos x="4" y="11"/>
                  </a:cxn>
                  <a:cxn ang="0">
                    <a:pos x="5" y="9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8" y="4"/>
                  </a:cxn>
                  <a:cxn ang="0">
                    <a:pos x="9" y="4"/>
                  </a:cxn>
                  <a:cxn ang="0">
                    <a:pos x="10" y="6"/>
                  </a:cxn>
                  <a:cxn ang="0">
                    <a:pos x="9" y="8"/>
                  </a:cxn>
                  <a:cxn ang="0">
                    <a:pos x="6" y="9"/>
                  </a:cxn>
                  <a:cxn ang="0">
                    <a:pos x="5" y="9"/>
                  </a:cxn>
                  <a:cxn ang="0">
                    <a:pos x="4" y="11"/>
                  </a:cxn>
                  <a:cxn ang="0">
                    <a:pos x="3" y="13"/>
                  </a:cxn>
                  <a:cxn ang="0">
                    <a:pos x="6" y="13"/>
                  </a:cxn>
                  <a:cxn ang="0">
                    <a:pos x="13" y="11"/>
                  </a:cxn>
                  <a:cxn ang="0">
                    <a:pos x="14" y="6"/>
                  </a:cxn>
                  <a:cxn ang="0">
                    <a:pos x="12" y="1"/>
                  </a:cxn>
                  <a:cxn ang="0">
                    <a:pos x="8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1" y="11"/>
                  </a:cxn>
                  <a:cxn ang="0">
                    <a:pos x="3" y="13"/>
                  </a:cxn>
                  <a:cxn ang="0">
                    <a:pos x="4" y="11"/>
                  </a:cxn>
                </a:cxnLst>
                <a:rect l="0" t="0" r="r" b="b"/>
                <a:pathLst>
                  <a:path w="14" h="13">
                    <a:moveTo>
                      <a:pt x="4" y="11"/>
                    </a:moveTo>
                    <a:cubicBezTo>
                      <a:pt x="5" y="9"/>
                      <a:pt x="5" y="9"/>
                      <a:pt x="5" y="9"/>
                    </a:cubicBezTo>
                    <a:cubicBezTo>
                      <a:pt x="4" y="9"/>
                      <a:pt x="4" y="9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4" y="7"/>
                      <a:pt x="5" y="6"/>
                    </a:cubicBezTo>
                    <a:cubicBezTo>
                      <a:pt x="6" y="4"/>
                      <a:pt x="7" y="4"/>
                      <a:pt x="8" y="4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5"/>
                      <a:pt x="10" y="5"/>
                      <a:pt x="10" y="6"/>
                    </a:cubicBezTo>
                    <a:cubicBezTo>
                      <a:pt x="10" y="7"/>
                      <a:pt x="10" y="7"/>
                      <a:pt x="9" y="8"/>
                    </a:cubicBezTo>
                    <a:cubicBezTo>
                      <a:pt x="9" y="9"/>
                      <a:pt x="7" y="9"/>
                      <a:pt x="6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3" y="13"/>
                      <a:pt x="3" y="13"/>
                      <a:pt x="3" y="13"/>
                    </a:cubicBezTo>
                    <a:cubicBezTo>
                      <a:pt x="4" y="13"/>
                      <a:pt x="5" y="13"/>
                      <a:pt x="6" y="13"/>
                    </a:cubicBezTo>
                    <a:cubicBezTo>
                      <a:pt x="8" y="13"/>
                      <a:pt x="11" y="12"/>
                      <a:pt x="13" y="11"/>
                    </a:cubicBezTo>
                    <a:cubicBezTo>
                      <a:pt x="14" y="9"/>
                      <a:pt x="14" y="8"/>
                      <a:pt x="14" y="6"/>
                    </a:cubicBezTo>
                    <a:cubicBezTo>
                      <a:pt x="14" y="4"/>
                      <a:pt x="13" y="2"/>
                      <a:pt x="12" y="1"/>
                    </a:cubicBezTo>
                    <a:cubicBezTo>
                      <a:pt x="11" y="0"/>
                      <a:pt x="9" y="0"/>
                      <a:pt x="8" y="0"/>
                    </a:cubicBezTo>
                    <a:cubicBezTo>
                      <a:pt x="6" y="0"/>
                      <a:pt x="3" y="1"/>
                      <a:pt x="2" y="3"/>
                    </a:cubicBezTo>
                    <a:cubicBezTo>
                      <a:pt x="0" y="5"/>
                      <a:pt x="0" y="6"/>
                      <a:pt x="0" y="8"/>
                    </a:cubicBezTo>
                    <a:cubicBezTo>
                      <a:pt x="0" y="9"/>
                      <a:pt x="0" y="10"/>
                      <a:pt x="1" y="11"/>
                    </a:cubicBezTo>
                    <a:cubicBezTo>
                      <a:pt x="1" y="12"/>
                      <a:pt x="2" y="12"/>
                      <a:pt x="3" y="13"/>
                    </a:cubicBezTo>
                    <a:lnTo>
                      <a:pt x="4" y="11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5" name="Freeform 290"/>
              <p:cNvSpPr>
                <a:spLocks/>
              </p:cNvSpPr>
              <p:nvPr/>
            </p:nvSpPr>
            <p:spPr bwMode="auto">
              <a:xfrm>
                <a:off x="-5172075" y="2559047"/>
                <a:ext cx="87313" cy="55562"/>
              </a:xfrm>
              <a:custGeom>
                <a:avLst/>
                <a:gdLst/>
                <a:ahLst/>
                <a:cxnLst>
                  <a:cxn ang="0">
                    <a:pos x="3" y="6"/>
                  </a:cxn>
                  <a:cxn ang="0">
                    <a:pos x="5" y="6"/>
                  </a:cxn>
                  <a:cxn ang="0">
                    <a:pos x="5" y="5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8" y="5"/>
                  </a:cxn>
                  <a:cxn ang="0">
                    <a:pos x="17" y="8"/>
                  </a:cxn>
                  <a:cxn ang="0">
                    <a:pos x="19" y="10"/>
                  </a:cxn>
                  <a:cxn ang="0">
                    <a:pos x="19" y="10"/>
                  </a:cxn>
                  <a:cxn ang="0">
                    <a:pos x="17" y="11"/>
                  </a:cxn>
                  <a:cxn ang="0">
                    <a:pos x="15" y="11"/>
                  </a:cxn>
                  <a:cxn ang="0">
                    <a:pos x="13" y="11"/>
                  </a:cxn>
                  <a:cxn ang="0">
                    <a:pos x="8" y="10"/>
                  </a:cxn>
                  <a:cxn ang="0">
                    <a:pos x="6" y="8"/>
                  </a:cxn>
                  <a:cxn ang="0">
                    <a:pos x="5" y="6"/>
                  </a:cxn>
                  <a:cxn ang="0">
                    <a:pos x="3" y="6"/>
                  </a:cxn>
                  <a:cxn ang="0">
                    <a:pos x="0" y="6"/>
                  </a:cxn>
                  <a:cxn ang="0">
                    <a:pos x="2" y="11"/>
                  </a:cxn>
                  <a:cxn ang="0">
                    <a:pos x="7" y="14"/>
                  </a:cxn>
                  <a:cxn ang="0">
                    <a:pos x="12" y="15"/>
                  </a:cxn>
                  <a:cxn ang="0">
                    <a:pos x="15" y="15"/>
                  </a:cxn>
                  <a:cxn ang="0">
                    <a:pos x="19" y="15"/>
                  </a:cxn>
                  <a:cxn ang="0">
                    <a:pos x="22" y="13"/>
                  </a:cxn>
                  <a:cxn ang="0">
                    <a:pos x="23" y="10"/>
                  </a:cxn>
                  <a:cxn ang="0">
                    <a:pos x="19" y="4"/>
                  </a:cxn>
                  <a:cxn ang="0">
                    <a:pos x="9" y="0"/>
                  </a:cxn>
                  <a:cxn ang="0">
                    <a:pos x="8" y="0"/>
                  </a:cxn>
                  <a:cxn ang="0">
                    <a:pos x="7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3" y="6"/>
                  </a:cxn>
                </a:cxnLst>
                <a:rect l="0" t="0" r="r" b="b"/>
                <a:pathLst>
                  <a:path w="23" h="15">
                    <a:moveTo>
                      <a:pt x="3" y="6"/>
                    </a:move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5" y="5"/>
                      <a:pt x="6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8" y="5"/>
                      <a:pt x="8" y="5"/>
                      <a:pt x="8" y="5"/>
                    </a:cubicBezTo>
                    <a:cubicBezTo>
                      <a:pt x="10" y="5"/>
                      <a:pt x="15" y="7"/>
                      <a:pt x="17" y="8"/>
                    </a:cubicBezTo>
                    <a:cubicBezTo>
                      <a:pt x="18" y="9"/>
                      <a:pt x="19" y="10"/>
                      <a:pt x="19" y="10"/>
                    </a:cubicBezTo>
                    <a:cubicBezTo>
                      <a:pt x="19" y="10"/>
                      <a:pt x="19" y="10"/>
                      <a:pt x="19" y="10"/>
                    </a:cubicBezTo>
                    <a:cubicBezTo>
                      <a:pt x="18" y="10"/>
                      <a:pt x="18" y="11"/>
                      <a:pt x="17" y="11"/>
                    </a:cubicBezTo>
                    <a:cubicBezTo>
                      <a:pt x="17" y="11"/>
                      <a:pt x="16" y="11"/>
                      <a:pt x="15" y="11"/>
                    </a:cubicBezTo>
                    <a:cubicBezTo>
                      <a:pt x="14" y="11"/>
                      <a:pt x="14" y="11"/>
                      <a:pt x="13" y="11"/>
                    </a:cubicBezTo>
                    <a:cubicBezTo>
                      <a:pt x="8" y="10"/>
                      <a:pt x="8" y="10"/>
                      <a:pt x="8" y="10"/>
                    </a:cubicBezTo>
                    <a:cubicBezTo>
                      <a:pt x="7" y="10"/>
                      <a:pt x="6" y="9"/>
                      <a:pt x="6" y="8"/>
                    </a:cubicBezTo>
                    <a:cubicBezTo>
                      <a:pt x="5" y="8"/>
                      <a:pt x="5" y="7"/>
                      <a:pt x="5" y="6"/>
                    </a:cubicBezTo>
                    <a:cubicBezTo>
                      <a:pt x="3" y="6"/>
                      <a:pt x="3" y="6"/>
                      <a:pt x="3" y="6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8"/>
                      <a:pt x="1" y="10"/>
                      <a:pt x="2" y="11"/>
                    </a:cubicBezTo>
                    <a:cubicBezTo>
                      <a:pt x="4" y="12"/>
                      <a:pt x="5" y="14"/>
                      <a:pt x="7" y="14"/>
                    </a:cubicBezTo>
                    <a:cubicBezTo>
                      <a:pt x="12" y="15"/>
                      <a:pt x="12" y="15"/>
                      <a:pt x="12" y="15"/>
                    </a:cubicBezTo>
                    <a:cubicBezTo>
                      <a:pt x="13" y="15"/>
                      <a:pt x="14" y="15"/>
                      <a:pt x="15" y="15"/>
                    </a:cubicBezTo>
                    <a:cubicBezTo>
                      <a:pt x="16" y="15"/>
                      <a:pt x="18" y="15"/>
                      <a:pt x="19" y="15"/>
                    </a:cubicBezTo>
                    <a:cubicBezTo>
                      <a:pt x="20" y="14"/>
                      <a:pt x="21" y="14"/>
                      <a:pt x="22" y="13"/>
                    </a:cubicBezTo>
                    <a:cubicBezTo>
                      <a:pt x="23" y="12"/>
                      <a:pt x="23" y="11"/>
                      <a:pt x="23" y="10"/>
                    </a:cubicBezTo>
                    <a:cubicBezTo>
                      <a:pt x="23" y="7"/>
                      <a:pt x="21" y="5"/>
                      <a:pt x="19" y="4"/>
                    </a:cubicBezTo>
                    <a:cubicBezTo>
                      <a:pt x="16" y="3"/>
                      <a:pt x="12" y="1"/>
                      <a:pt x="9" y="0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1"/>
                      <a:pt x="2" y="2"/>
                    </a:cubicBezTo>
                    <a:cubicBezTo>
                      <a:pt x="1" y="3"/>
                      <a:pt x="0" y="4"/>
                      <a:pt x="0" y="6"/>
                    </a:cubicBezTo>
                    <a:lnTo>
                      <a:pt x="3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6" name="Freeform 291"/>
              <p:cNvSpPr>
                <a:spLocks/>
              </p:cNvSpPr>
              <p:nvPr/>
            </p:nvSpPr>
            <p:spPr bwMode="auto">
              <a:xfrm>
                <a:off x="-5029199" y="2419349"/>
                <a:ext cx="79374" cy="90487"/>
              </a:xfrm>
              <a:custGeom>
                <a:avLst/>
                <a:gdLst/>
                <a:ahLst/>
                <a:cxnLst>
                  <a:cxn ang="0">
                    <a:pos x="4" y="13"/>
                  </a:cxn>
                  <a:cxn ang="0">
                    <a:pos x="5" y="12"/>
                  </a:cxn>
                  <a:cxn ang="0">
                    <a:pos x="5" y="10"/>
                  </a:cxn>
                  <a:cxn ang="0">
                    <a:pos x="6" y="9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5"/>
                  </a:cxn>
                  <a:cxn ang="0">
                    <a:pos x="16" y="6"/>
                  </a:cxn>
                  <a:cxn ang="0">
                    <a:pos x="14" y="18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3" y="20"/>
                  </a:cxn>
                  <a:cxn ang="0">
                    <a:pos x="12" y="19"/>
                  </a:cxn>
                  <a:cxn ang="0">
                    <a:pos x="5" y="12"/>
                  </a:cxn>
                  <a:cxn ang="0">
                    <a:pos x="4" y="13"/>
                  </a:cxn>
                  <a:cxn ang="0">
                    <a:pos x="2" y="14"/>
                  </a:cxn>
                  <a:cxn ang="0">
                    <a:pos x="9" y="22"/>
                  </a:cxn>
                  <a:cxn ang="0">
                    <a:pos x="13" y="24"/>
                  </a:cxn>
                  <a:cxn ang="0">
                    <a:pos x="16" y="23"/>
                  </a:cxn>
                  <a:cxn ang="0">
                    <a:pos x="18" y="19"/>
                  </a:cxn>
                  <a:cxn ang="0">
                    <a:pos x="20" y="7"/>
                  </a:cxn>
                  <a:cxn ang="0">
                    <a:pos x="21" y="5"/>
                  </a:cxn>
                  <a:cxn ang="0">
                    <a:pos x="20" y="2"/>
                  </a:cxn>
                  <a:cxn ang="0">
                    <a:pos x="16" y="0"/>
                  </a:cxn>
                  <a:cxn ang="0">
                    <a:pos x="14" y="0"/>
                  </a:cxn>
                  <a:cxn ang="0">
                    <a:pos x="4" y="5"/>
                  </a:cxn>
                  <a:cxn ang="0">
                    <a:pos x="0" y="10"/>
                  </a:cxn>
                  <a:cxn ang="0">
                    <a:pos x="2" y="14"/>
                  </a:cxn>
                  <a:cxn ang="0">
                    <a:pos x="4" y="13"/>
                  </a:cxn>
                </a:cxnLst>
                <a:rect l="0" t="0" r="r" b="b"/>
                <a:pathLst>
                  <a:path w="21" h="24">
                    <a:moveTo>
                      <a:pt x="4" y="13"/>
                    </a:moveTo>
                    <a:cubicBezTo>
                      <a:pt x="5" y="12"/>
                      <a:pt x="5" y="12"/>
                      <a:pt x="5" y="12"/>
                    </a:cubicBezTo>
                    <a:cubicBezTo>
                      <a:pt x="5" y="11"/>
                      <a:pt x="5" y="10"/>
                      <a:pt x="5" y="10"/>
                    </a:cubicBezTo>
                    <a:cubicBezTo>
                      <a:pt x="5" y="9"/>
                      <a:pt x="5" y="9"/>
                      <a:pt x="6" y="9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6" y="5"/>
                      <a:pt x="16" y="5"/>
                      <a:pt x="16" y="5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4" y="18"/>
                      <a:pt x="14" y="18"/>
                      <a:pt x="14" y="18"/>
                    </a:cubicBezTo>
                    <a:cubicBezTo>
                      <a:pt x="13" y="19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3" y="20"/>
                      <a:pt x="13" y="20"/>
                      <a:pt x="13" y="20"/>
                    </a:cubicBezTo>
                    <a:cubicBezTo>
                      <a:pt x="12" y="19"/>
                      <a:pt x="12" y="19"/>
                      <a:pt x="12" y="19"/>
                    </a:cubicBezTo>
                    <a:cubicBezTo>
                      <a:pt x="5" y="12"/>
                      <a:pt x="5" y="12"/>
                      <a:pt x="5" y="12"/>
                    </a:cubicBezTo>
                    <a:cubicBezTo>
                      <a:pt x="4" y="13"/>
                      <a:pt x="4" y="13"/>
                      <a:pt x="4" y="13"/>
                    </a:cubicBezTo>
                    <a:cubicBezTo>
                      <a:pt x="2" y="14"/>
                      <a:pt x="2" y="14"/>
                      <a:pt x="2" y="14"/>
                    </a:cubicBezTo>
                    <a:cubicBezTo>
                      <a:pt x="9" y="22"/>
                      <a:pt x="9" y="22"/>
                      <a:pt x="9" y="22"/>
                    </a:cubicBezTo>
                    <a:cubicBezTo>
                      <a:pt x="10" y="23"/>
                      <a:pt x="11" y="24"/>
                      <a:pt x="13" y="24"/>
                    </a:cubicBezTo>
                    <a:cubicBezTo>
                      <a:pt x="14" y="24"/>
                      <a:pt x="15" y="24"/>
                      <a:pt x="16" y="23"/>
                    </a:cubicBezTo>
                    <a:cubicBezTo>
                      <a:pt x="17" y="22"/>
                      <a:pt x="17" y="21"/>
                      <a:pt x="18" y="19"/>
                    </a:cubicBezTo>
                    <a:cubicBezTo>
                      <a:pt x="20" y="7"/>
                      <a:pt x="20" y="7"/>
                      <a:pt x="20" y="7"/>
                    </a:cubicBezTo>
                    <a:cubicBezTo>
                      <a:pt x="21" y="7"/>
                      <a:pt x="21" y="6"/>
                      <a:pt x="21" y="5"/>
                    </a:cubicBezTo>
                    <a:cubicBezTo>
                      <a:pt x="21" y="4"/>
                      <a:pt x="20" y="3"/>
                      <a:pt x="20" y="2"/>
                    </a:cubicBezTo>
                    <a:cubicBezTo>
                      <a:pt x="19" y="1"/>
                      <a:pt x="17" y="0"/>
                      <a:pt x="16" y="0"/>
                    </a:cubicBezTo>
                    <a:cubicBezTo>
                      <a:pt x="15" y="0"/>
                      <a:pt x="15" y="0"/>
                      <a:pt x="14" y="0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2" y="6"/>
                      <a:pt x="0" y="8"/>
                      <a:pt x="0" y="10"/>
                    </a:cubicBezTo>
                    <a:cubicBezTo>
                      <a:pt x="0" y="12"/>
                      <a:pt x="1" y="13"/>
                      <a:pt x="2" y="14"/>
                    </a:cubicBezTo>
                    <a:lnTo>
                      <a:pt x="4" y="13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7" name="Freeform 292"/>
              <p:cNvSpPr>
                <a:spLocks/>
              </p:cNvSpPr>
              <p:nvPr/>
            </p:nvSpPr>
            <p:spPr bwMode="auto">
              <a:xfrm>
                <a:off x="-5054600" y="2554285"/>
                <a:ext cx="112712" cy="128587"/>
              </a:xfrm>
              <a:custGeom>
                <a:avLst/>
                <a:gdLst/>
                <a:ahLst/>
                <a:cxnLst>
                  <a:cxn ang="0">
                    <a:pos x="7" y="6"/>
                  </a:cxn>
                  <a:cxn ang="0">
                    <a:pos x="7" y="4"/>
                  </a:cxn>
                  <a:cxn ang="0">
                    <a:pos x="7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7" y="4"/>
                  </a:cxn>
                  <a:cxn ang="0">
                    <a:pos x="6" y="5"/>
                  </a:cxn>
                  <a:cxn ang="0">
                    <a:pos x="5" y="4"/>
                  </a:cxn>
                  <a:cxn ang="0">
                    <a:pos x="6" y="3"/>
                  </a:cxn>
                  <a:cxn ang="0">
                    <a:pos x="6" y="3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5" y="6"/>
                  </a:cxn>
                  <a:cxn ang="0">
                    <a:pos x="7" y="14"/>
                  </a:cxn>
                  <a:cxn ang="0">
                    <a:pos x="15" y="21"/>
                  </a:cxn>
                  <a:cxn ang="0">
                    <a:pos x="23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5" y="27"/>
                  </a:cxn>
                  <a:cxn ang="0">
                    <a:pos x="25" y="29"/>
                  </a:cxn>
                  <a:cxn ang="0">
                    <a:pos x="19" y="29"/>
                  </a:cxn>
                  <a:cxn ang="0">
                    <a:pos x="7" y="22"/>
                  </a:cxn>
                  <a:cxn ang="0">
                    <a:pos x="5" y="17"/>
                  </a:cxn>
                  <a:cxn ang="0">
                    <a:pos x="7" y="6"/>
                  </a:cxn>
                  <a:cxn ang="0">
                    <a:pos x="3" y="5"/>
                  </a:cxn>
                  <a:cxn ang="0">
                    <a:pos x="0" y="17"/>
                  </a:cxn>
                  <a:cxn ang="0">
                    <a:pos x="5" y="26"/>
                  </a:cxn>
                  <a:cxn ang="0">
                    <a:pos x="18" y="33"/>
                  </a:cxn>
                  <a:cxn ang="0">
                    <a:pos x="28" y="32"/>
                  </a:cxn>
                  <a:cxn ang="0">
                    <a:pos x="30" y="26"/>
                  </a:cxn>
                  <a:cxn ang="0">
                    <a:pos x="24" y="20"/>
                  </a:cxn>
                  <a:cxn ang="0">
                    <a:pos x="23" y="20"/>
                  </a:cxn>
                  <a:cxn ang="0">
                    <a:pos x="20" y="19"/>
                  </a:cxn>
                  <a:cxn ang="0">
                    <a:pos x="13" y="15"/>
                  </a:cxn>
                  <a:cxn ang="0">
                    <a:pos x="9" y="7"/>
                  </a:cxn>
                  <a:cxn ang="0">
                    <a:pos x="8" y="3"/>
                  </a:cxn>
                  <a:cxn ang="0">
                    <a:pos x="7" y="1"/>
                  </a:cxn>
                  <a:cxn ang="0">
                    <a:pos x="5" y="1"/>
                  </a:cxn>
                  <a:cxn ang="0">
                    <a:pos x="3" y="5"/>
                  </a:cxn>
                </a:cxnLst>
                <a:rect l="0" t="0" r="r" b="b"/>
                <a:pathLst>
                  <a:path w="30" h="34">
                    <a:moveTo>
                      <a:pt x="5" y="5"/>
                    </a:moveTo>
                    <a:cubicBezTo>
                      <a:pt x="7" y="6"/>
                      <a:pt x="7" y="6"/>
                      <a:pt x="7" y="6"/>
                    </a:cubicBezTo>
                    <a:cubicBezTo>
                      <a:pt x="7" y="5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7" y="4"/>
                      <a:pt x="7" y="4"/>
                      <a:pt x="7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6" y="5"/>
                      <a:pt x="6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5" y="5"/>
                      <a:pt x="5" y="5"/>
                      <a:pt x="6" y="5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5" y="4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5"/>
                      <a:pt x="5" y="6"/>
                    </a:cubicBezTo>
                    <a:cubicBezTo>
                      <a:pt x="5" y="8"/>
                      <a:pt x="5" y="8"/>
                      <a:pt x="5" y="8"/>
                    </a:cubicBezTo>
                    <a:cubicBezTo>
                      <a:pt x="5" y="10"/>
                      <a:pt x="6" y="12"/>
                      <a:pt x="7" y="14"/>
                    </a:cubicBezTo>
                    <a:cubicBezTo>
                      <a:pt x="8" y="16"/>
                      <a:pt x="9" y="18"/>
                      <a:pt x="11" y="19"/>
                    </a:cubicBezTo>
                    <a:cubicBezTo>
                      <a:pt x="15" y="21"/>
                      <a:pt x="15" y="21"/>
                      <a:pt x="15" y="21"/>
                    </a:cubicBezTo>
                    <a:cubicBezTo>
                      <a:pt x="16" y="22"/>
                      <a:pt x="17" y="23"/>
                      <a:pt x="19" y="23"/>
                    </a:cubicBezTo>
                    <a:cubicBezTo>
                      <a:pt x="20" y="24"/>
                      <a:pt x="22" y="24"/>
                      <a:pt x="23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4" y="24"/>
                    </a:cubicBezTo>
                    <a:cubicBezTo>
                      <a:pt x="24" y="24"/>
                      <a:pt x="24" y="24"/>
                      <a:pt x="25" y="25"/>
                    </a:cubicBezTo>
                    <a:cubicBezTo>
                      <a:pt x="25" y="25"/>
                      <a:pt x="25" y="26"/>
                      <a:pt x="25" y="27"/>
                    </a:cubicBezTo>
                    <a:cubicBezTo>
                      <a:pt x="26" y="27"/>
                      <a:pt x="26" y="27"/>
                      <a:pt x="26" y="27"/>
                    </a:cubicBezTo>
                    <a:cubicBezTo>
                      <a:pt x="26" y="28"/>
                      <a:pt x="25" y="29"/>
                      <a:pt x="25" y="29"/>
                    </a:cubicBezTo>
                    <a:cubicBezTo>
                      <a:pt x="25" y="30"/>
                      <a:pt x="24" y="30"/>
                      <a:pt x="24" y="30"/>
                    </a:cubicBezTo>
                    <a:cubicBezTo>
                      <a:pt x="22" y="30"/>
                      <a:pt x="21" y="29"/>
                      <a:pt x="19" y="29"/>
                    </a:cubicBezTo>
                    <a:cubicBezTo>
                      <a:pt x="18" y="29"/>
                      <a:pt x="16" y="28"/>
                      <a:pt x="15" y="27"/>
                    </a:cubicBezTo>
                    <a:cubicBezTo>
                      <a:pt x="7" y="22"/>
                      <a:pt x="7" y="22"/>
                      <a:pt x="7" y="22"/>
                    </a:cubicBezTo>
                    <a:cubicBezTo>
                      <a:pt x="7" y="22"/>
                      <a:pt x="6" y="21"/>
                      <a:pt x="5" y="20"/>
                    </a:cubicBezTo>
                    <a:cubicBezTo>
                      <a:pt x="5" y="19"/>
                      <a:pt x="5" y="18"/>
                      <a:pt x="5" y="17"/>
                    </a:cubicBezTo>
                    <a:cubicBezTo>
                      <a:pt x="5" y="16"/>
                      <a:pt x="5" y="16"/>
                      <a:pt x="5" y="15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5" y="5"/>
                      <a:pt x="5" y="5"/>
                      <a:pt x="5" y="5"/>
                    </a:cubicBezTo>
                    <a:cubicBezTo>
                      <a:pt x="3" y="5"/>
                      <a:pt x="3" y="5"/>
                      <a:pt x="3" y="5"/>
                    </a:cubicBezTo>
                    <a:cubicBezTo>
                      <a:pt x="1" y="14"/>
                      <a:pt x="1" y="14"/>
                      <a:pt x="1" y="14"/>
                    </a:cubicBezTo>
                    <a:cubicBezTo>
                      <a:pt x="0" y="15"/>
                      <a:pt x="0" y="16"/>
                      <a:pt x="0" y="17"/>
                    </a:cubicBezTo>
                    <a:cubicBezTo>
                      <a:pt x="0" y="18"/>
                      <a:pt x="1" y="20"/>
                      <a:pt x="2" y="22"/>
                    </a:cubicBezTo>
                    <a:cubicBezTo>
                      <a:pt x="2" y="24"/>
                      <a:pt x="3" y="25"/>
                      <a:pt x="5" y="26"/>
                    </a:cubicBezTo>
                    <a:cubicBezTo>
                      <a:pt x="13" y="31"/>
                      <a:pt x="13" y="31"/>
                      <a:pt x="13" y="31"/>
                    </a:cubicBezTo>
                    <a:cubicBezTo>
                      <a:pt x="14" y="32"/>
                      <a:pt x="16" y="33"/>
                      <a:pt x="18" y="33"/>
                    </a:cubicBezTo>
                    <a:cubicBezTo>
                      <a:pt x="20" y="34"/>
                      <a:pt x="22" y="34"/>
                      <a:pt x="24" y="34"/>
                    </a:cubicBezTo>
                    <a:cubicBezTo>
                      <a:pt x="25" y="34"/>
                      <a:pt x="27" y="33"/>
                      <a:pt x="28" y="32"/>
                    </a:cubicBezTo>
                    <a:cubicBezTo>
                      <a:pt x="29" y="31"/>
                      <a:pt x="30" y="29"/>
                      <a:pt x="30" y="27"/>
                    </a:cubicBezTo>
                    <a:cubicBezTo>
                      <a:pt x="30" y="27"/>
                      <a:pt x="30" y="27"/>
                      <a:pt x="30" y="26"/>
                    </a:cubicBezTo>
                    <a:cubicBezTo>
                      <a:pt x="29" y="25"/>
                      <a:pt x="29" y="23"/>
                      <a:pt x="28" y="22"/>
                    </a:cubicBezTo>
                    <a:cubicBezTo>
                      <a:pt x="27" y="21"/>
                      <a:pt x="26" y="20"/>
                      <a:pt x="24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3" y="20"/>
                      <a:pt x="23" y="20"/>
                      <a:pt x="23" y="20"/>
                    </a:cubicBezTo>
                    <a:cubicBezTo>
                      <a:pt x="22" y="20"/>
                      <a:pt x="21" y="20"/>
                      <a:pt x="20" y="19"/>
                    </a:cubicBezTo>
                    <a:cubicBezTo>
                      <a:pt x="19" y="19"/>
                      <a:pt x="18" y="18"/>
                      <a:pt x="17" y="18"/>
                    </a:cubicBezTo>
                    <a:cubicBezTo>
                      <a:pt x="13" y="15"/>
                      <a:pt x="13" y="15"/>
                      <a:pt x="13" y="15"/>
                    </a:cubicBezTo>
                    <a:cubicBezTo>
                      <a:pt x="13" y="15"/>
                      <a:pt x="12" y="14"/>
                      <a:pt x="11" y="12"/>
                    </a:cubicBezTo>
                    <a:cubicBezTo>
                      <a:pt x="10" y="10"/>
                      <a:pt x="9" y="9"/>
                      <a:pt x="9" y="7"/>
                    </a:cubicBezTo>
                    <a:cubicBezTo>
                      <a:pt x="9" y="5"/>
                      <a:pt x="9" y="5"/>
                      <a:pt x="9" y="5"/>
                    </a:cubicBezTo>
                    <a:cubicBezTo>
                      <a:pt x="9" y="4"/>
                      <a:pt x="9" y="3"/>
                      <a:pt x="8" y="3"/>
                    </a:cubicBezTo>
                    <a:cubicBezTo>
                      <a:pt x="8" y="2"/>
                      <a:pt x="8" y="2"/>
                      <a:pt x="8" y="1"/>
                    </a:cubicBezTo>
                    <a:cubicBezTo>
                      <a:pt x="7" y="1"/>
                      <a:pt x="7" y="1"/>
                      <a:pt x="7" y="1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5" y="0"/>
                      <a:pt x="5" y="1"/>
                      <a:pt x="5" y="1"/>
                    </a:cubicBezTo>
                    <a:cubicBezTo>
                      <a:pt x="4" y="1"/>
                      <a:pt x="4" y="1"/>
                      <a:pt x="4" y="2"/>
                    </a:cubicBezTo>
                    <a:cubicBezTo>
                      <a:pt x="3" y="3"/>
                      <a:pt x="3" y="4"/>
                      <a:pt x="3" y="5"/>
                    </a:cubicBezTo>
                    <a:lnTo>
                      <a:pt x="5" y="5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8" name="Freeform 293"/>
              <p:cNvSpPr>
                <a:spLocks/>
              </p:cNvSpPr>
              <p:nvPr/>
            </p:nvSpPr>
            <p:spPr bwMode="auto">
              <a:xfrm>
                <a:off x="-5126037" y="2482848"/>
                <a:ext cx="52388" cy="60325"/>
              </a:xfrm>
              <a:custGeom>
                <a:avLst/>
                <a:gdLst/>
                <a:ahLst/>
                <a:cxnLst>
                  <a:cxn ang="0">
                    <a:pos x="2" y="8"/>
                  </a:cxn>
                  <a:cxn ang="0">
                    <a:pos x="4" y="8"/>
                  </a:cxn>
                  <a:cxn ang="0">
                    <a:pos x="5" y="6"/>
                  </a:cxn>
                  <a:cxn ang="0">
                    <a:pos x="7" y="4"/>
                  </a:cxn>
                  <a:cxn ang="0">
                    <a:pos x="9" y="5"/>
                  </a:cxn>
                  <a:cxn ang="0">
                    <a:pos x="10" y="8"/>
                  </a:cxn>
                  <a:cxn ang="0">
                    <a:pos x="10" y="8"/>
                  </a:cxn>
                  <a:cxn ang="0">
                    <a:pos x="8" y="11"/>
                  </a:cxn>
                  <a:cxn ang="0">
                    <a:pos x="6" y="12"/>
                  </a:cxn>
                  <a:cxn ang="0">
                    <a:pos x="5" y="11"/>
                  </a:cxn>
                  <a:cxn ang="0">
                    <a:pos x="4" y="9"/>
                  </a:cxn>
                  <a:cxn ang="0">
                    <a:pos x="4" y="8"/>
                  </a:cxn>
                  <a:cxn ang="0">
                    <a:pos x="2" y="8"/>
                  </a:cxn>
                  <a:cxn ang="0">
                    <a:pos x="0" y="8"/>
                  </a:cxn>
                  <a:cxn ang="0">
                    <a:pos x="0" y="9"/>
                  </a:cxn>
                  <a:cxn ang="0">
                    <a:pos x="2" y="14"/>
                  </a:cxn>
                  <a:cxn ang="0">
                    <a:pos x="6" y="16"/>
                  </a:cxn>
                  <a:cxn ang="0">
                    <a:pos x="12" y="14"/>
                  </a:cxn>
                  <a:cxn ang="0">
                    <a:pos x="14" y="8"/>
                  </a:cxn>
                  <a:cxn ang="0">
                    <a:pos x="14" y="8"/>
                  </a:cxn>
                  <a:cxn ang="0">
                    <a:pos x="12" y="3"/>
                  </a:cxn>
                  <a:cxn ang="0">
                    <a:pos x="7" y="0"/>
                  </a:cxn>
                  <a:cxn ang="0">
                    <a:pos x="2" y="3"/>
                  </a:cxn>
                  <a:cxn ang="0">
                    <a:pos x="0" y="8"/>
                  </a:cxn>
                  <a:cxn ang="0">
                    <a:pos x="2" y="8"/>
                  </a:cxn>
                </a:cxnLst>
                <a:rect l="0" t="0" r="r" b="b"/>
                <a:pathLst>
                  <a:path w="14" h="16">
                    <a:moveTo>
                      <a:pt x="2" y="8"/>
                    </a:moveTo>
                    <a:cubicBezTo>
                      <a:pt x="4" y="8"/>
                      <a:pt x="4" y="8"/>
                      <a:pt x="4" y="8"/>
                    </a:cubicBezTo>
                    <a:cubicBezTo>
                      <a:pt x="4" y="7"/>
                      <a:pt x="5" y="6"/>
                      <a:pt x="5" y="6"/>
                    </a:cubicBezTo>
                    <a:cubicBezTo>
                      <a:pt x="6" y="5"/>
                      <a:pt x="7" y="4"/>
                      <a:pt x="7" y="4"/>
                    </a:cubicBezTo>
                    <a:cubicBezTo>
                      <a:pt x="8" y="4"/>
                      <a:pt x="8" y="5"/>
                      <a:pt x="9" y="5"/>
                    </a:cubicBezTo>
                    <a:cubicBezTo>
                      <a:pt x="9" y="6"/>
                      <a:pt x="10" y="7"/>
                      <a:pt x="10" y="8"/>
                    </a:cubicBezTo>
                    <a:cubicBezTo>
                      <a:pt x="10" y="8"/>
                      <a:pt x="10" y="8"/>
                      <a:pt x="10" y="8"/>
                    </a:cubicBezTo>
                    <a:cubicBezTo>
                      <a:pt x="10" y="9"/>
                      <a:pt x="9" y="10"/>
                      <a:pt x="8" y="11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6" y="12"/>
                      <a:pt x="5" y="12"/>
                      <a:pt x="5" y="11"/>
                    </a:cubicBezTo>
                    <a:cubicBezTo>
                      <a:pt x="4" y="11"/>
                      <a:pt x="4" y="10"/>
                      <a:pt x="4" y="9"/>
                    </a:cubicBezTo>
                    <a:cubicBezTo>
                      <a:pt x="4" y="8"/>
                      <a:pt x="4" y="8"/>
                      <a:pt x="4" y="8"/>
                    </a:cubicBezTo>
                    <a:cubicBezTo>
                      <a:pt x="2" y="8"/>
                      <a:pt x="2" y="8"/>
                      <a:pt x="2" y="8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9"/>
                      <a:pt x="0" y="9"/>
                      <a:pt x="0" y="9"/>
                    </a:cubicBezTo>
                    <a:cubicBezTo>
                      <a:pt x="0" y="11"/>
                      <a:pt x="0" y="13"/>
                      <a:pt x="2" y="14"/>
                    </a:cubicBezTo>
                    <a:cubicBezTo>
                      <a:pt x="3" y="15"/>
                      <a:pt x="4" y="16"/>
                      <a:pt x="6" y="16"/>
                    </a:cubicBezTo>
                    <a:cubicBezTo>
                      <a:pt x="9" y="16"/>
                      <a:pt x="10" y="15"/>
                      <a:pt x="12" y="14"/>
                    </a:cubicBezTo>
                    <a:cubicBezTo>
                      <a:pt x="13" y="12"/>
                      <a:pt x="14" y="11"/>
                      <a:pt x="14" y="8"/>
                    </a:cubicBezTo>
                    <a:cubicBezTo>
                      <a:pt x="14" y="8"/>
                      <a:pt x="14" y="8"/>
                      <a:pt x="14" y="8"/>
                    </a:cubicBezTo>
                    <a:cubicBezTo>
                      <a:pt x="14" y="6"/>
                      <a:pt x="13" y="4"/>
                      <a:pt x="12" y="3"/>
                    </a:cubicBezTo>
                    <a:cubicBezTo>
                      <a:pt x="11" y="1"/>
                      <a:pt x="9" y="0"/>
                      <a:pt x="7" y="0"/>
                    </a:cubicBezTo>
                    <a:cubicBezTo>
                      <a:pt x="5" y="0"/>
                      <a:pt x="3" y="1"/>
                      <a:pt x="2" y="3"/>
                    </a:cubicBezTo>
                    <a:cubicBezTo>
                      <a:pt x="1" y="4"/>
                      <a:pt x="0" y="6"/>
                      <a:pt x="0" y="8"/>
                    </a:cubicBezTo>
                    <a:lnTo>
                      <a:pt x="2" y="8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29" name="Freeform 294"/>
              <p:cNvSpPr>
                <a:spLocks/>
              </p:cNvSpPr>
              <p:nvPr/>
            </p:nvSpPr>
            <p:spPr bwMode="auto">
              <a:xfrm>
                <a:off x="-4845050" y="3506786"/>
                <a:ext cx="117475" cy="98425"/>
              </a:xfrm>
              <a:custGeom>
                <a:avLst/>
                <a:gdLst/>
                <a:ahLst/>
                <a:cxnLst>
                  <a:cxn ang="0">
                    <a:pos x="4" y="6"/>
                  </a:cxn>
                  <a:cxn ang="0">
                    <a:pos x="5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3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4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3" y="4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4" y="5"/>
                  </a:cxn>
                  <a:cxn ang="0">
                    <a:pos x="15" y="6"/>
                  </a:cxn>
                  <a:cxn ang="0">
                    <a:pos x="18" y="8"/>
                  </a:cxn>
                  <a:cxn ang="0">
                    <a:pos x="22" y="11"/>
                  </a:cxn>
                  <a:cxn ang="0">
                    <a:pos x="26" y="17"/>
                  </a:cxn>
                  <a:cxn ang="0">
                    <a:pos x="27" y="19"/>
                  </a:cxn>
                  <a:cxn ang="0">
                    <a:pos x="26" y="21"/>
                  </a:cxn>
                  <a:cxn ang="0">
                    <a:pos x="25" y="22"/>
                  </a:cxn>
                  <a:cxn ang="0">
                    <a:pos x="21" y="20"/>
                  </a:cxn>
                  <a:cxn ang="0">
                    <a:pos x="5" y="4"/>
                  </a:cxn>
                  <a:cxn ang="0">
                    <a:pos x="4" y="6"/>
                  </a:cxn>
                  <a:cxn ang="0">
                    <a:pos x="2" y="7"/>
                  </a:cxn>
                  <a:cxn ang="0">
                    <a:pos x="18" y="23"/>
                  </a:cxn>
                  <a:cxn ang="0">
                    <a:pos x="25" y="26"/>
                  </a:cxn>
                  <a:cxn ang="0">
                    <a:pos x="29" y="25"/>
                  </a:cxn>
                  <a:cxn ang="0">
                    <a:pos x="31" y="19"/>
                  </a:cxn>
                  <a:cxn ang="0">
                    <a:pos x="30" y="14"/>
                  </a:cxn>
                  <a:cxn ang="0">
                    <a:pos x="25" y="9"/>
                  </a:cxn>
                  <a:cxn ang="0">
                    <a:pos x="21" y="4"/>
                  </a:cxn>
                  <a:cxn ang="0">
                    <a:pos x="15" y="2"/>
                  </a:cxn>
                  <a:cxn ang="0">
                    <a:pos x="5" y="1"/>
                  </a:cxn>
                  <a:cxn ang="0">
                    <a:pos x="4" y="0"/>
                  </a:cxn>
                  <a:cxn ang="0">
                    <a:pos x="1" y="1"/>
                  </a:cxn>
                  <a:cxn ang="0">
                    <a:pos x="0" y="4"/>
                  </a:cxn>
                  <a:cxn ang="0">
                    <a:pos x="1" y="6"/>
                  </a:cxn>
                  <a:cxn ang="0">
                    <a:pos x="2" y="7"/>
                  </a:cxn>
                  <a:cxn ang="0">
                    <a:pos x="4" y="6"/>
                  </a:cxn>
                </a:cxnLst>
                <a:rect l="0" t="0" r="r" b="b"/>
                <a:pathLst>
                  <a:path w="31" h="26">
                    <a:moveTo>
                      <a:pt x="4" y="6"/>
                    </a:moveTo>
                    <a:cubicBezTo>
                      <a:pt x="5" y="4"/>
                      <a:pt x="5" y="4"/>
                      <a:pt x="5" y="4"/>
                    </a:cubicBezTo>
                    <a:cubicBezTo>
                      <a:pt x="5" y="4"/>
                      <a:pt x="5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3"/>
                      <a:pt x="4" y="3"/>
                      <a:pt x="4" y="3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4"/>
                      <a:pt x="4" y="4"/>
                      <a:pt x="4" y="4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15" y="6"/>
                      <a:pt x="15" y="6"/>
                      <a:pt x="15" y="6"/>
                    </a:cubicBezTo>
                    <a:cubicBezTo>
                      <a:pt x="16" y="7"/>
                      <a:pt x="17" y="7"/>
                      <a:pt x="18" y="8"/>
                    </a:cubicBezTo>
                    <a:cubicBezTo>
                      <a:pt x="20" y="9"/>
                      <a:pt x="21" y="10"/>
                      <a:pt x="22" y="11"/>
                    </a:cubicBezTo>
                    <a:cubicBezTo>
                      <a:pt x="26" y="17"/>
                      <a:pt x="26" y="17"/>
                      <a:pt x="26" y="17"/>
                    </a:cubicBezTo>
                    <a:cubicBezTo>
                      <a:pt x="27" y="18"/>
                      <a:pt x="27" y="18"/>
                      <a:pt x="27" y="19"/>
                    </a:cubicBezTo>
                    <a:cubicBezTo>
                      <a:pt x="27" y="20"/>
                      <a:pt x="27" y="21"/>
                      <a:pt x="26" y="21"/>
                    </a:cubicBezTo>
                    <a:cubicBezTo>
                      <a:pt x="25" y="22"/>
                      <a:pt x="25" y="22"/>
                      <a:pt x="25" y="22"/>
                    </a:cubicBezTo>
                    <a:cubicBezTo>
                      <a:pt x="23" y="22"/>
                      <a:pt x="22" y="21"/>
                      <a:pt x="21" y="20"/>
                    </a:cubicBezTo>
                    <a:cubicBezTo>
                      <a:pt x="5" y="4"/>
                      <a:pt x="5" y="4"/>
                      <a:pt x="5" y="4"/>
                    </a:cubicBezTo>
                    <a:cubicBezTo>
                      <a:pt x="4" y="6"/>
                      <a:pt x="4" y="6"/>
                      <a:pt x="4" y="6"/>
                    </a:cubicBezTo>
                    <a:cubicBezTo>
                      <a:pt x="2" y="7"/>
                      <a:pt x="2" y="7"/>
                      <a:pt x="2" y="7"/>
                    </a:cubicBezTo>
                    <a:cubicBezTo>
                      <a:pt x="18" y="23"/>
                      <a:pt x="18" y="23"/>
                      <a:pt x="18" y="23"/>
                    </a:cubicBezTo>
                    <a:cubicBezTo>
                      <a:pt x="20" y="25"/>
                      <a:pt x="22" y="26"/>
                      <a:pt x="25" y="26"/>
                    </a:cubicBezTo>
                    <a:cubicBezTo>
                      <a:pt x="26" y="26"/>
                      <a:pt x="28" y="25"/>
                      <a:pt x="29" y="25"/>
                    </a:cubicBezTo>
                    <a:cubicBezTo>
                      <a:pt x="31" y="23"/>
                      <a:pt x="31" y="21"/>
                      <a:pt x="31" y="19"/>
                    </a:cubicBezTo>
                    <a:cubicBezTo>
                      <a:pt x="31" y="17"/>
                      <a:pt x="31" y="16"/>
                      <a:pt x="30" y="14"/>
                    </a:cubicBezTo>
                    <a:cubicBezTo>
                      <a:pt x="25" y="9"/>
                      <a:pt x="25" y="9"/>
                      <a:pt x="25" y="9"/>
                    </a:cubicBezTo>
                    <a:cubicBezTo>
                      <a:pt x="24" y="7"/>
                      <a:pt x="23" y="6"/>
                      <a:pt x="21" y="4"/>
                    </a:cubicBezTo>
                    <a:cubicBezTo>
                      <a:pt x="19" y="3"/>
                      <a:pt x="17" y="2"/>
                      <a:pt x="15" y="2"/>
                    </a:cubicBezTo>
                    <a:cubicBezTo>
                      <a:pt x="5" y="1"/>
                      <a:pt x="5" y="1"/>
                      <a:pt x="5" y="1"/>
                    </a:cubicBezTo>
                    <a:cubicBezTo>
                      <a:pt x="4" y="0"/>
                      <a:pt x="4" y="0"/>
                      <a:pt x="4" y="0"/>
                    </a:cubicBezTo>
                    <a:cubicBezTo>
                      <a:pt x="3" y="0"/>
                      <a:pt x="2" y="1"/>
                      <a:pt x="1" y="1"/>
                    </a:cubicBezTo>
                    <a:cubicBezTo>
                      <a:pt x="1" y="2"/>
                      <a:pt x="0" y="3"/>
                      <a:pt x="0" y="4"/>
                    </a:cubicBezTo>
                    <a:cubicBezTo>
                      <a:pt x="0" y="4"/>
                      <a:pt x="0" y="5"/>
                      <a:pt x="1" y="6"/>
                    </a:cubicBezTo>
                    <a:cubicBezTo>
                      <a:pt x="2" y="7"/>
                      <a:pt x="2" y="7"/>
                      <a:pt x="2" y="7"/>
                    </a:cubicBezTo>
                    <a:lnTo>
                      <a:pt x="4" y="6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30" name="Freeform 295"/>
              <p:cNvSpPr>
                <a:spLocks/>
              </p:cNvSpPr>
              <p:nvPr/>
            </p:nvSpPr>
            <p:spPr bwMode="auto">
              <a:xfrm>
                <a:off x="-4454525" y="2663823"/>
                <a:ext cx="95250" cy="57150"/>
              </a:xfrm>
              <a:custGeom>
                <a:avLst/>
                <a:gdLst/>
                <a:ahLst/>
                <a:cxnLst>
                  <a:cxn ang="0">
                    <a:pos x="3" y="7"/>
                  </a:cxn>
                  <a:cxn ang="0">
                    <a:pos x="5" y="7"/>
                  </a:cxn>
                  <a:cxn ang="0">
                    <a:pos x="5" y="6"/>
                  </a:cxn>
                  <a:cxn ang="0">
                    <a:pos x="5" y="4"/>
                  </a:cxn>
                  <a:cxn ang="0">
                    <a:pos x="7" y="4"/>
                  </a:cxn>
                  <a:cxn ang="0">
                    <a:pos x="17" y="4"/>
                  </a:cxn>
                  <a:cxn ang="0">
                    <a:pos x="19" y="5"/>
                  </a:cxn>
                  <a:cxn ang="0">
                    <a:pos x="20" y="7"/>
                  </a:cxn>
                  <a:cxn ang="0">
                    <a:pos x="20" y="8"/>
                  </a:cxn>
                  <a:cxn ang="0">
                    <a:pos x="20" y="10"/>
                  </a:cxn>
                  <a:cxn ang="0">
                    <a:pos x="18" y="11"/>
                  </a:cxn>
                  <a:cxn ang="0">
                    <a:pos x="9" y="11"/>
                  </a:cxn>
                  <a:cxn ang="0">
                    <a:pos x="6" y="10"/>
                  </a:cxn>
                  <a:cxn ang="0">
                    <a:pos x="5" y="7"/>
                  </a:cxn>
                  <a:cxn ang="0">
                    <a:pos x="3" y="7"/>
                  </a:cxn>
                  <a:cxn ang="0">
                    <a:pos x="1" y="8"/>
                  </a:cxn>
                  <a:cxn ang="0">
                    <a:pos x="4" y="13"/>
                  </a:cxn>
                  <a:cxn ang="0">
                    <a:pos x="9" y="15"/>
                  </a:cxn>
                  <a:cxn ang="0">
                    <a:pos x="18" y="15"/>
                  </a:cxn>
                  <a:cxn ang="0">
                    <a:pos x="23" y="13"/>
                  </a:cxn>
                  <a:cxn ang="0">
                    <a:pos x="25" y="8"/>
                  </a:cxn>
                  <a:cxn ang="0">
                    <a:pos x="25" y="7"/>
                  </a:cxn>
                  <a:cxn ang="0">
                    <a:pos x="22" y="2"/>
                  </a:cxn>
                  <a:cxn ang="0">
                    <a:pos x="17" y="0"/>
                  </a:cxn>
                  <a:cxn ang="0">
                    <a:pos x="7" y="0"/>
                  </a:cxn>
                  <a:cxn ang="0">
                    <a:pos x="2" y="1"/>
                  </a:cxn>
                  <a:cxn ang="0">
                    <a:pos x="0" y="6"/>
                  </a:cxn>
                  <a:cxn ang="0">
                    <a:pos x="1" y="8"/>
                  </a:cxn>
                  <a:cxn ang="0">
                    <a:pos x="3" y="7"/>
                  </a:cxn>
                </a:cxnLst>
                <a:rect l="0" t="0" r="r" b="b"/>
                <a:pathLst>
                  <a:path w="25" h="15">
                    <a:moveTo>
                      <a:pt x="3" y="7"/>
                    </a:moveTo>
                    <a:cubicBezTo>
                      <a:pt x="5" y="7"/>
                      <a:pt x="5" y="7"/>
                      <a:pt x="5" y="7"/>
                    </a:cubicBezTo>
                    <a:cubicBezTo>
                      <a:pt x="5" y="6"/>
                      <a:pt x="5" y="6"/>
                      <a:pt x="5" y="6"/>
                    </a:cubicBezTo>
                    <a:cubicBezTo>
                      <a:pt x="5" y="5"/>
                      <a:pt x="5" y="5"/>
                      <a:pt x="5" y="4"/>
                    </a:cubicBezTo>
                    <a:cubicBezTo>
                      <a:pt x="6" y="4"/>
                      <a:pt x="6" y="4"/>
                      <a:pt x="7" y="4"/>
                    </a:cubicBezTo>
                    <a:cubicBezTo>
                      <a:pt x="17" y="4"/>
                      <a:pt x="17" y="4"/>
                      <a:pt x="17" y="4"/>
                    </a:cubicBezTo>
                    <a:cubicBezTo>
                      <a:pt x="18" y="4"/>
                      <a:pt x="18" y="4"/>
                      <a:pt x="19" y="5"/>
                    </a:cubicBezTo>
                    <a:cubicBezTo>
                      <a:pt x="20" y="6"/>
                      <a:pt x="20" y="6"/>
                      <a:pt x="20" y="7"/>
                    </a:cubicBezTo>
                    <a:cubicBezTo>
                      <a:pt x="20" y="8"/>
                      <a:pt x="20" y="8"/>
                      <a:pt x="20" y="8"/>
                    </a:cubicBezTo>
                    <a:cubicBezTo>
                      <a:pt x="20" y="9"/>
                      <a:pt x="20" y="9"/>
                      <a:pt x="20" y="10"/>
                    </a:cubicBezTo>
                    <a:cubicBezTo>
                      <a:pt x="19" y="10"/>
                      <a:pt x="19" y="11"/>
                      <a:pt x="18" y="11"/>
                    </a:cubicBezTo>
                    <a:cubicBezTo>
                      <a:pt x="9" y="11"/>
                      <a:pt x="9" y="11"/>
                      <a:pt x="9" y="11"/>
                    </a:cubicBezTo>
                    <a:cubicBezTo>
                      <a:pt x="8" y="11"/>
                      <a:pt x="7" y="10"/>
                      <a:pt x="6" y="10"/>
                    </a:cubicBezTo>
                    <a:cubicBezTo>
                      <a:pt x="6" y="9"/>
                      <a:pt x="5" y="8"/>
                      <a:pt x="5" y="7"/>
                    </a:cubicBezTo>
                    <a:cubicBezTo>
                      <a:pt x="3" y="7"/>
                      <a:pt x="3" y="7"/>
                      <a:pt x="3" y="7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1" y="10"/>
                      <a:pt x="2" y="11"/>
                      <a:pt x="4" y="13"/>
                    </a:cubicBezTo>
                    <a:cubicBezTo>
                      <a:pt x="5" y="14"/>
                      <a:pt x="7" y="15"/>
                      <a:pt x="9" y="15"/>
                    </a:cubicBezTo>
                    <a:cubicBezTo>
                      <a:pt x="18" y="15"/>
                      <a:pt x="18" y="15"/>
                      <a:pt x="18" y="15"/>
                    </a:cubicBezTo>
                    <a:cubicBezTo>
                      <a:pt x="20" y="15"/>
                      <a:pt x="22" y="14"/>
                      <a:pt x="23" y="13"/>
                    </a:cubicBezTo>
                    <a:cubicBezTo>
                      <a:pt x="24" y="12"/>
                      <a:pt x="25" y="10"/>
                      <a:pt x="25" y="8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4" y="5"/>
                      <a:pt x="24" y="3"/>
                      <a:pt x="22" y="2"/>
                    </a:cubicBezTo>
                    <a:cubicBezTo>
                      <a:pt x="21" y="0"/>
                      <a:pt x="19" y="0"/>
                      <a:pt x="17" y="0"/>
                    </a:cubicBezTo>
                    <a:cubicBezTo>
                      <a:pt x="7" y="0"/>
                      <a:pt x="7" y="0"/>
                      <a:pt x="7" y="0"/>
                    </a:cubicBezTo>
                    <a:cubicBezTo>
                      <a:pt x="5" y="0"/>
                      <a:pt x="3" y="0"/>
                      <a:pt x="2" y="1"/>
                    </a:cubicBezTo>
                    <a:cubicBezTo>
                      <a:pt x="1" y="3"/>
                      <a:pt x="0" y="4"/>
                      <a:pt x="0" y="6"/>
                    </a:cubicBezTo>
                    <a:cubicBezTo>
                      <a:pt x="0" y="7"/>
                      <a:pt x="0" y="7"/>
                      <a:pt x="1" y="8"/>
                    </a:cubicBezTo>
                    <a:lnTo>
                      <a:pt x="3" y="7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31" name="Freeform 296"/>
              <p:cNvSpPr>
                <a:spLocks/>
              </p:cNvSpPr>
              <p:nvPr/>
            </p:nvSpPr>
            <p:spPr bwMode="auto">
              <a:xfrm>
                <a:off x="-3432175" y="2822573"/>
                <a:ext cx="87313" cy="165100"/>
              </a:xfrm>
              <a:custGeom>
                <a:avLst/>
                <a:gdLst/>
                <a:ahLst/>
                <a:cxnLst>
                  <a:cxn ang="0">
                    <a:pos x="3" y="9"/>
                  </a:cxn>
                  <a:cxn ang="0">
                    <a:pos x="1" y="15"/>
                  </a:cxn>
                  <a:cxn ang="0">
                    <a:pos x="6" y="21"/>
                  </a:cxn>
                  <a:cxn ang="0">
                    <a:pos x="6" y="23"/>
                  </a:cxn>
                  <a:cxn ang="0">
                    <a:pos x="2" y="34"/>
                  </a:cxn>
                  <a:cxn ang="0">
                    <a:pos x="0" y="40"/>
                  </a:cxn>
                  <a:cxn ang="0">
                    <a:pos x="0" y="42"/>
                  </a:cxn>
                  <a:cxn ang="0">
                    <a:pos x="2" y="44"/>
                  </a:cxn>
                  <a:cxn ang="0">
                    <a:pos x="4" y="43"/>
                  </a:cxn>
                  <a:cxn ang="0">
                    <a:pos x="15" y="37"/>
                  </a:cxn>
                  <a:cxn ang="0">
                    <a:pos x="23" y="24"/>
                  </a:cxn>
                  <a:cxn ang="0">
                    <a:pos x="14" y="7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3"/>
                  </a:cxn>
                  <a:cxn ang="0">
                    <a:pos x="10" y="0"/>
                  </a:cxn>
                  <a:cxn ang="0">
                    <a:pos x="4" y="4"/>
                  </a:cxn>
                  <a:cxn ang="0">
                    <a:pos x="5" y="9"/>
                  </a:cxn>
                  <a:cxn ang="0">
                    <a:pos x="8" y="6"/>
                  </a:cxn>
                  <a:cxn ang="0">
                    <a:pos x="10" y="5"/>
                  </a:cxn>
                  <a:cxn ang="0">
                    <a:pos x="10" y="4"/>
                  </a:cxn>
                  <a:cxn ang="0">
                    <a:pos x="10" y="5"/>
                  </a:cxn>
                  <a:cxn ang="0">
                    <a:pos x="10" y="5"/>
                  </a:cxn>
                  <a:cxn ang="0">
                    <a:pos x="9" y="4"/>
                  </a:cxn>
                  <a:cxn ang="0">
                    <a:pos x="10" y="3"/>
                  </a:cxn>
                  <a:cxn ang="0">
                    <a:pos x="10" y="3"/>
                  </a:cxn>
                  <a:cxn ang="0">
                    <a:pos x="9" y="4"/>
                  </a:cxn>
                  <a:cxn ang="0">
                    <a:pos x="8" y="3"/>
                  </a:cxn>
                  <a:cxn ang="0">
                    <a:pos x="8" y="3"/>
                  </a:cxn>
                  <a:cxn ang="0">
                    <a:pos x="9" y="3"/>
                  </a:cxn>
                  <a:cxn ang="0">
                    <a:pos x="8" y="3"/>
                  </a:cxn>
                  <a:cxn ang="0">
                    <a:pos x="9" y="7"/>
                  </a:cxn>
                  <a:cxn ang="0">
                    <a:pos x="19" y="24"/>
                  </a:cxn>
                  <a:cxn ang="0">
                    <a:pos x="10" y="35"/>
                  </a:cxn>
                  <a:cxn ang="0">
                    <a:pos x="2" y="40"/>
                  </a:cxn>
                  <a:cxn ang="0">
                    <a:pos x="2" y="41"/>
                  </a:cxn>
                  <a:cxn ang="0">
                    <a:pos x="2" y="40"/>
                  </a:cxn>
                  <a:cxn ang="0">
                    <a:pos x="2" y="40"/>
                  </a:cxn>
                  <a:cxn ang="0">
                    <a:pos x="4" y="41"/>
                  </a:cxn>
                  <a:cxn ang="0">
                    <a:pos x="2" y="42"/>
                  </a:cxn>
                  <a:cxn ang="0">
                    <a:pos x="2" y="42"/>
                  </a:cxn>
                  <a:cxn ang="0">
                    <a:pos x="4" y="41"/>
                  </a:cxn>
                  <a:cxn ang="0">
                    <a:pos x="4" y="42"/>
                  </a:cxn>
                  <a:cxn ang="0">
                    <a:pos x="4" y="42"/>
                  </a:cxn>
                  <a:cxn ang="0">
                    <a:pos x="3" y="42"/>
                  </a:cxn>
                  <a:cxn ang="0">
                    <a:pos x="5" y="41"/>
                  </a:cxn>
                  <a:cxn ang="0">
                    <a:pos x="7" y="34"/>
                  </a:cxn>
                  <a:cxn ang="0">
                    <a:pos x="10" y="23"/>
                  </a:cxn>
                  <a:cxn ang="0">
                    <a:pos x="9" y="18"/>
                  </a:cxn>
                  <a:cxn ang="0">
                    <a:pos x="6" y="16"/>
                  </a:cxn>
                  <a:cxn ang="0">
                    <a:pos x="6" y="13"/>
                  </a:cxn>
                  <a:cxn ang="0">
                    <a:pos x="5" y="9"/>
                  </a:cxn>
                </a:cxnLst>
                <a:rect l="0" t="0" r="r" b="b"/>
                <a:pathLst>
                  <a:path w="23" h="44">
                    <a:moveTo>
                      <a:pt x="5" y="9"/>
                    </a:moveTo>
                    <a:cubicBezTo>
                      <a:pt x="3" y="9"/>
                      <a:pt x="3" y="9"/>
                      <a:pt x="3" y="9"/>
                    </a:cubicBezTo>
                    <a:cubicBezTo>
                      <a:pt x="3" y="10"/>
                      <a:pt x="2" y="11"/>
                      <a:pt x="2" y="11"/>
                    </a:cubicBezTo>
                    <a:cubicBezTo>
                      <a:pt x="2" y="12"/>
                      <a:pt x="1" y="13"/>
                      <a:pt x="1" y="15"/>
                    </a:cubicBezTo>
                    <a:cubicBezTo>
                      <a:pt x="1" y="16"/>
                      <a:pt x="2" y="18"/>
                      <a:pt x="3" y="19"/>
                    </a:cubicBezTo>
                    <a:cubicBezTo>
                      <a:pt x="4" y="20"/>
                      <a:pt x="5" y="21"/>
                      <a:pt x="6" y="21"/>
                    </a:cubicBezTo>
                    <a:cubicBezTo>
                      <a:pt x="6" y="21"/>
                      <a:pt x="6" y="21"/>
                      <a:pt x="6" y="21"/>
                    </a:cubicBezTo>
                    <a:cubicBezTo>
                      <a:pt x="6" y="22"/>
                      <a:pt x="6" y="22"/>
                      <a:pt x="6" y="23"/>
                    </a:cubicBezTo>
                    <a:cubicBezTo>
                      <a:pt x="6" y="24"/>
                      <a:pt x="5" y="26"/>
                      <a:pt x="4" y="28"/>
                    </a:cubicBezTo>
                    <a:cubicBezTo>
                      <a:pt x="3" y="30"/>
                      <a:pt x="2" y="32"/>
                      <a:pt x="2" y="34"/>
                    </a:cubicBezTo>
                    <a:cubicBezTo>
                      <a:pt x="2" y="35"/>
                      <a:pt x="2" y="36"/>
                      <a:pt x="1" y="38"/>
                    </a:cubicBezTo>
                    <a:cubicBezTo>
                      <a:pt x="1" y="38"/>
                      <a:pt x="1" y="39"/>
                      <a:pt x="0" y="40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0" y="41"/>
                      <a:pt x="0" y="41"/>
                      <a:pt x="0" y="42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1" y="44"/>
                      <a:pt x="2" y="44"/>
                      <a:pt x="2" y="44"/>
                    </a:cubicBezTo>
                    <a:cubicBezTo>
                      <a:pt x="3" y="44"/>
                      <a:pt x="3" y="44"/>
                      <a:pt x="3" y="44"/>
                    </a:cubicBezTo>
                    <a:cubicBezTo>
                      <a:pt x="4" y="43"/>
                      <a:pt x="4" y="43"/>
                      <a:pt x="4" y="43"/>
                    </a:cubicBezTo>
                    <a:cubicBezTo>
                      <a:pt x="5" y="43"/>
                      <a:pt x="6" y="42"/>
                      <a:pt x="7" y="41"/>
                    </a:cubicBezTo>
                    <a:cubicBezTo>
                      <a:pt x="10" y="40"/>
                      <a:pt x="12" y="39"/>
                      <a:pt x="15" y="37"/>
                    </a:cubicBezTo>
                    <a:cubicBezTo>
                      <a:pt x="18" y="35"/>
                      <a:pt x="20" y="33"/>
                      <a:pt x="21" y="31"/>
                    </a:cubicBezTo>
                    <a:cubicBezTo>
                      <a:pt x="23" y="29"/>
                      <a:pt x="23" y="26"/>
                      <a:pt x="23" y="24"/>
                    </a:cubicBezTo>
                    <a:cubicBezTo>
                      <a:pt x="23" y="19"/>
                      <a:pt x="22" y="15"/>
                      <a:pt x="19" y="12"/>
                    </a:cubicBezTo>
                    <a:cubicBezTo>
                      <a:pt x="17" y="10"/>
                      <a:pt x="16" y="9"/>
                      <a:pt x="14" y="7"/>
                    </a:cubicBezTo>
                    <a:cubicBezTo>
                      <a:pt x="14" y="6"/>
                      <a:pt x="13" y="5"/>
                      <a:pt x="13" y="5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4"/>
                      <a:pt x="12" y="4"/>
                      <a:pt x="12" y="4"/>
                    </a:cubicBezTo>
                    <a:cubicBezTo>
                      <a:pt x="12" y="3"/>
                      <a:pt x="12" y="3"/>
                      <a:pt x="12" y="3"/>
                    </a:cubicBezTo>
                    <a:cubicBezTo>
                      <a:pt x="12" y="2"/>
                      <a:pt x="12" y="2"/>
                      <a:pt x="12" y="1"/>
                    </a:cubicBezTo>
                    <a:cubicBezTo>
                      <a:pt x="11" y="1"/>
                      <a:pt x="10" y="0"/>
                      <a:pt x="10" y="0"/>
                    </a:cubicBezTo>
                    <a:cubicBezTo>
                      <a:pt x="9" y="1"/>
                      <a:pt x="8" y="1"/>
                      <a:pt x="7" y="1"/>
                    </a:cubicBezTo>
                    <a:cubicBezTo>
                      <a:pt x="6" y="2"/>
                      <a:pt x="5" y="3"/>
                      <a:pt x="4" y="4"/>
                    </a:cubicBezTo>
                    <a:cubicBezTo>
                      <a:pt x="3" y="6"/>
                      <a:pt x="3" y="7"/>
                      <a:pt x="3" y="9"/>
                    </a:cubicBezTo>
                    <a:cubicBezTo>
                      <a:pt x="5" y="9"/>
                      <a:pt x="5" y="9"/>
                      <a:pt x="5" y="9"/>
                    </a:cubicBezTo>
                    <a:cubicBezTo>
                      <a:pt x="7" y="9"/>
                      <a:pt x="7" y="9"/>
                      <a:pt x="7" y="9"/>
                    </a:cubicBezTo>
                    <a:cubicBezTo>
                      <a:pt x="7" y="8"/>
                      <a:pt x="8" y="7"/>
                      <a:pt x="8" y="6"/>
                    </a:cubicBezTo>
                    <a:cubicBezTo>
                      <a:pt x="9" y="6"/>
                      <a:pt x="9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9" y="5"/>
                      <a:pt x="10" y="5"/>
                      <a:pt x="10" y="5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9" y="4"/>
                      <a:pt x="9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4"/>
                      <a:pt x="9" y="4"/>
                    </a:cubicBezTo>
                    <a:cubicBezTo>
                      <a:pt x="10" y="3"/>
                      <a:pt x="10" y="3"/>
                      <a:pt x="10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9" y="3"/>
                      <a:pt x="9" y="3"/>
                      <a:pt x="9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3"/>
                      <a:pt x="8" y="3"/>
                      <a:pt x="8" y="3"/>
                    </a:cubicBezTo>
                    <a:cubicBezTo>
                      <a:pt x="8" y="4"/>
                      <a:pt x="8" y="4"/>
                      <a:pt x="8" y="4"/>
                    </a:cubicBezTo>
                    <a:cubicBezTo>
                      <a:pt x="8" y="5"/>
                      <a:pt x="8" y="6"/>
                      <a:pt x="9" y="7"/>
                    </a:cubicBezTo>
                    <a:cubicBezTo>
                      <a:pt x="10" y="9"/>
                      <a:pt x="13" y="12"/>
                      <a:pt x="16" y="15"/>
                    </a:cubicBezTo>
                    <a:cubicBezTo>
                      <a:pt x="18" y="17"/>
                      <a:pt x="19" y="20"/>
                      <a:pt x="19" y="24"/>
                    </a:cubicBezTo>
                    <a:cubicBezTo>
                      <a:pt x="19" y="26"/>
                      <a:pt x="19" y="27"/>
                      <a:pt x="18" y="29"/>
                    </a:cubicBezTo>
                    <a:cubicBezTo>
                      <a:pt x="17" y="30"/>
                      <a:pt x="13" y="33"/>
                      <a:pt x="10" y="35"/>
                    </a:cubicBezTo>
                    <a:cubicBezTo>
                      <a:pt x="9" y="36"/>
                      <a:pt x="7" y="37"/>
                      <a:pt x="5" y="38"/>
                    </a:cubicBezTo>
                    <a:cubicBezTo>
                      <a:pt x="4" y="39"/>
                      <a:pt x="3" y="39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1"/>
                      <a:pt x="2" y="41"/>
                      <a:pt x="2" y="41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3" y="40"/>
                      <a:pt x="3" y="40"/>
                      <a:pt x="2" y="40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1"/>
                      <a:pt x="4" y="41"/>
                      <a:pt x="4" y="41"/>
                    </a:cubicBezTo>
                    <a:cubicBezTo>
                      <a:pt x="2" y="42"/>
                      <a:pt x="2" y="42"/>
                      <a:pt x="2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3" y="42"/>
                      <a:pt x="3" y="42"/>
                      <a:pt x="3" y="42"/>
                    </a:cubicBezTo>
                    <a:cubicBezTo>
                      <a:pt x="4" y="42"/>
                      <a:pt x="4" y="42"/>
                      <a:pt x="4" y="42"/>
                    </a:cubicBezTo>
                    <a:cubicBezTo>
                      <a:pt x="4" y="42"/>
                      <a:pt x="4" y="42"/>
                      <a:pt x="5" y="41"/>
                    </a:cubicBezTo>
                    <a:cubicBezTo>
                      <a:pt x="5" y="40"/>
                      <a:pt x="5" y="39"/>
                      <a:pt x="6" y="38"/>
                    </a:cubicBezTo>
                    <a:cubicBezTo>
                      <a:pt x="6" y="37"/>
                      <a:pt x="7" y="36"/>
                      <a:pt x="7" y="34"/>
                    </a:cubicBezTo>
                    <a:cubicBezTo>
                      <a:pt x="7" y="33"/>
                      <a:pt x="7" y="32"/>
                      <a:pt x="8" y="30"/>
                    </a:cubicBezTo>
                    <a:cubicBezTo>
                      <a:pt x="9" y="28"/>
                      <a:pt x="10" y="26"/>
                      <a:pt x="10" y="23"/>
                    </a:cubicBezTo>
                    <a:cubicBezTo>
                      <a:pt x="10" y="22"/>
                      <a:pt x="10" y="21"/>
                      <a:pt x="10" y="20"/>
                    </a:cubicBezTo>
                    <a:cubicBezTo>
                      <a:pt x="10" y="20"/>
                      <a:pt x="9" y="19"/>
                      <a:pt x="9" y="18"/>
                    </a:cubicBezTo>
                    <a:cubicBezTo>
                      <a:pt x="8" y="18"/>
                      <a:pt x="8" y="17"/>
                      <a:pt x="7" y="17"/>
                    </a:cubicBezTo>
                    <a:cubicBezTo>
                      <a:pt x="6" y="16"/>
                      <a:pt x="6" y="16"/>
                      <a:pt x="6" y="16"/>
                    </a:cubicBezTo>
                    <a:cubicBezTo>
                      <a:pt x="5" y="15"/>
                      <a:pt x="5" y="15"/>
                      <a:pt x="5" y="15"/>
                    </a:cubicBezTo>
                    <a:cubicBezTo>
                      <a:pt x="5" y="15"/>
                      <a:pt x="5" y="14"/>
                      <a:pt x="6" y="13"/>
                    </a:cubicBezTo>
                    <a:cubicBezTo>
                      <a:pt x="6" y="12"/>
                      <a:pt x="7" y="11"/>
                      <a:pt x="7" y="9"/>
                    </a:cubicBezTo>
                    <a:lnTo>
                      <a:pt x="5" y="9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32" name="Freeform 297"/>
              <p:cNvSpPr>
                <a:spLocks/>
              </p:cNvSpPr>
              <p:nvPr/>
            </p:nvSpPr>
            <p:spPr bwMode="auto">
              <a:xfrm>
                <a:off x="-3487738" y="2889248"/>
                <a:ext cx="66675" cy="65087"/>
              </a:xfrm>
              <a:custGeom>
                <a:avLst/>
                <a:gdLst/>
                <a:ahLst/>
                <a:cxnLst>
                  <a:cxn ang="0">
                    <a:pos x="10" y="2"/>
                  </a:cxn>
                  <a:cxn ang="0">
                    <a:pos x="10" y="4"/>
                  </a:cxn>
                  <a:cxn ang="0">
                    <a:pos x="13" y="5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4" y="6"/>
                  </a:cxn>
                  <a:cxn ang="0">
                    <a:pos x="12" y="10"/>
                  </a:cxn>
                  <a:cxn ang="0">
                    <a:pos x="11" y="11"/>
                  </a:cxn>
                  <a:cxn ang="0">
                    <a:pos x="10" y="12"/>
                  </a:cxn>
                  <a:cxn ang="0">
                    <a:pos x="6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1"/>
                  </a:cxn>
                  <a:cxn ang="0">
                    <a:pos x="7" y="6"/>
                  </a:cxn>
                  <a:cxn ang="0">
                    <a:pos x="10" y="4"/>
                  </a:cxn>
                  <a:cxn ang="0">
                    <a:pos x="10" y="2"/>
                  </a:cxn>
                  <a:cxn ang="0">
                    <a:pos x="10" y="0"/>
                  </a:cxn>
                  <a:cxn ang="0">
                    <a:pos x="4" y="3"/>
                  </a:cxn>
                  <a:cxn ang="0">
                    <a:pos x="0" y="10"/>
                  </a:cxn>
                  <a:cxn ang="0">
                    <a:pos x="0" y="12"/>
                  </a:cxn>
                  <a:cxn ang="0">
                    <a:pos x="2" y="16"/>
                  </a:cxn>
                  <a:cxn ang="0">
                    <a:pos x="6" y="17"/>
                  </a:cxn>
                  <a:cxn ang="0">
                    <a:pos x="11" y="16"/>
                  </a:cxn>
                  <a:cxn ang="0">
                    <a:pos x="14" y="14"/>
                  </a:cxn>
                  <a:cxn ang="0">
                    <a:pos x="16" y="11"/>
                  </a:cxn>
                  <a:cxn ang="0">
                    <a:pos x="18" y="8"/>
                  </a:cxn>
                  <a:cxn ang="0">
                    <a:pos x="18" y="6"/>
                  </a:cxn>
                  <a:cxn ang="0">
                    <a:pos x="17" y="3"/>
                  </a:cxn>
                  <a:cxn ang="0">
                    <a:pos x="13" y="1"/>
                  </a:cxn>
                  <a:cxn ang="0">
                    <a:pos x="10" y="0"/>
                  </a:cxn>
                  <a:cxn ang="0">
                    <a:pos x="10" y="2"/>
                  </a:cxn>
                </a:cxnLst>
                <a:rect l="0" t="0" r="r" b="b"/>
                <a:pathLst>
                  <a:path w="18" h="17">
                    <a:moveTo>
                      <a:pt x="10" y="2"/>
                    </a:moveTo>
                    <a:cubicBezTo>
                      <a:pt x="10" y="4"/>
                      <a:pt x="10" y="4"/>
                      <a:pt x="10" y="4"/>
                    </a:cubicBezTo>
                    <a:cubicBezTo>
                      <a:pt x="10" y="4"/>
                      <a:pt x="12" y="4"/>
                      <a:pt x="13" y="5"/>
                    </a:cubicBezTo>
                    <a:cubicBezTo>
                      <a:pt x="13" y="5"/>
                      <a:pt x="14" y="5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4" y="6"/>
                      <a:pt x="14" y="6"/>
                      <a:pt x="14" y="6"/>
                    </a:cubicBezTo>
                    <a:cubicBezTo>
                      <a:pt x="13" y="8"/>
                      <a:pt x="12" y="9"/>
                      <a:pt x="12" y="10"/>
                    </a:cubicBezTo>
                    <a:cubicBezTo>
                      <a:pt x="12" y="10"/>
                      <a:pt x="12" y="11"/>
                      <a:pt x="11" y="11"/>
                    </a:cubicBezTo>
                    <a:cubicBezTo>
                      <a:pt x="11" y="11"/>
                      <a:pt x="11" y="11"/>
                      <a:pt x="10" y="12"/>
                    </a:cubicBezTo>
                    <a:cubicBezTo>
                      <a:pt x="8" y="12"/>
                      <a:pt x="7" y="12"/>
                      <a:pt x="6" y="12"/>
                    </a:cubicBezTo>
                    <a:cubicBezTo>
                      <a:pt x="5" y="12"/>
                      <a:pt x="4" y="12"/>
                      <a:pt x="4" y="12"/>
                    </a:cubicBezTo>
                    <a:cubicBezTo>
                      <a:pt x="4" y="12"/>
                      <a:pt x="4" y="12"/>
                      <a:pt x="4" y="12"/>
                    </a:cubicBezTo>
                    <a:cubicBezTo>
                      <a:pt x="4" y="11"/>
                      <a:pt x="4" y="11"/>
                      <a:pt x="4" y="11"/>
                    </a:cubicBezTo>
                    <a:cubicBezTo>
                      <a:pt x="5" y="9"/>
                      <a:pt x="6" y="7"/>
                      <a:pt x="7" y="6"/>
                    </a:cubicBezTo>
                    <a:cubicBezTo>
                      <a:pt x="8" y="5"/>
                      <a:pt x="9" y="4"/>
                      <a:pt x="10" y="4"/>
                    </a:cubicBezTo>
                    <a:cubicBezTo>
                      <a:pt x="10" y="2"/>
                      <a:pt x="10" y="2"/>
                      <a:pt x="10" y="2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4" y="3"/>
                    </a:cubicBezTo>
                    <a:cubicBezTo>
                      <a:pt x="2" y="4"/>
                      <a:pt x="1" y="7"/>
                      <a:pt x="0" y="10"/>
                    </a:cubicBezTo>
                    <a:cubicBezTo>
                      <a:pt x="0" y="10"/>
                      <a:pt x="0" y="11"/>
                      <a:pt x="0" y="12"/>
                    </a:cubicBezTo>
                    <a:cubicBezTo>
                      <a:pt x="0" y="13"/>
                      <a:pt x="1" y="15"/>
                      <a:pt x="2" y="16"/>
                    </a:cubicBezTo>
                    <a:cubicBezTo>
                      <a:pt x="3" y="17"/>
                      <a:pt x="5" y="17"/>
                      <a:pt x="6" y="17"/>
                    </a:cubicBezTo>
                    <a:cubicBezTo>
                      <a:pt x="8" y="17"/>
                      <a:pt x="9" y="16"/>
                      <a:pt x="11" y="16"/>
                    </a:cubicBezTo>
                    <a:cubicBezTo>
                      <a:pt x="12" y="15"/>
                      <a:pt x="13" y="15"/>
                      <a:pt x="14" y="14"/>
                    </a:cubicBezTo>
                    <a:cubicBezTo>
                      <a:pt x="15" y="13"/>
                      <a:pt x="16" y="12"/>
                      <a:pt x="16" y="11"/>
                    </a:cubicBezTo>
                    <a:cubicBezTo>
                      <a:pt x="17" y="10"/>
                      <a:pt x="17" y="9"/>
                      <a:pt x="18" y="8"/>
                    </a:cubicBezTo>
                    <a:cubicBezTo>
                      <a:pt x="18" y="7"/>
                      <a:pt x="18" y="7"/>
                      <a:pt x="18" y="6"/>
                    </a:cubicBezTo>
                    <a:cubicBezTo>
                      <a:pt x="18" y="5"/>
                      <a:pt x="18" y="3"/>
                      <a:pt x="17" y="3"/>
                    </a:cubicBezTo>
                    <a:cubicBezTo>
                      <a:pt x="16" y="2"/>
                      <a:pt x="15" y="1"/>
                      <a:pt x="13" y="1"/>
                    </a:cubicBezTo>
                    <a:cubicBezTo>
                      <a:pt x="12" y="0"/>
                      <a:pt x="11" y="0"/>
                      <a:pt x="10" y="0"/>
                    </a:cubicBezTo>
                    <a:lnTo>
                      <a:pt x="10" y="2"/>
                    </a:lnTo>
                    <a:close/>
                  </a:path>
                </a:pathLst>
              </a:custGeom>
              <a:solidFill>
                <a:srgbClr val="FFFFFF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33" name="Freeform 298"/>
              <p:cNvSpPr>
                <a:spLocks/>
              </p:cNvSpPr>
              <p:nvPr/>
            </p:nvSpPr>
            <p:spPr bwMode="auto">
              <a:xfrm>
                <a:off x="-5084763" y="2419350"/>
                <a:ext cx="7937" cy="1584325"/>
              </a:xfrm>
              <a:custGeom>
                <a:avLst/>
                <a:gdLst/>
                <a:ahLst/>
                <a:cxnLst>
                  <a:cxn ang="0">
                    <a:pos x="2" y="421"/>
                  </a:cxn>
                  <a:cxn ang="0">
                    <a:pos x="0" y="0"/>
                  </a:cxn>
                </a:cxnLst>
                <a:rect l="0" t="0" r="r" b="b"/>
                <a:pathLst>
                  <a:path w="2" h="421">
                    <a:moveTo>
                      <a:pt x="2" y="421"/>
                    </a:moveTo>
                    <a:cubicBezTo>
                      <a:pt x="0" y="340"/>
                      <a:pt x="0" y="0"/>
                      <a:pt x="0" y="0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  <p:sp>
            <p:nvSpPr>
              <p:cNvPr id="134" name="Freeform 299"/>
              <p:cNvSpPr>
                <a:spLocks/>
              </p:cNvSpPr>
              <p:nvPr/>
            </p:nvSpPr>
            <p:spPr bwMode="auto">
              <a:xfrm>
                <a:off x="-2901950" y="2419351"/>
                <a:ext cx="646113" cy="164782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36" y="198"/>
                  </a:cxn>
                  <a:cxn ang="0">
                    <a:pos x="170" y="438"/>
                  </a:cxn>
                </a:cxnLst>
                <a:rect l="0" t="0" r="r" b="b"/>
                <a:pathLst>
                  <a:path w="172" h="438">
                    <a:moveTo>
                      <a:pt x="0" y="0"/>
                    </a:moveTo>
                    <a:cubicBezTo>
                      <a:pt x="73" y="63"/>
                      <a:pt x="120" y="122"/>
                      <a:pt x="136" y="198"/>
                    </a:cubicBezTo>
                    <a:cubicBezTo>
                      <a:pt x="152" y="274"/>
                      <a:pt x="172" y="418"/>
                      <a:pt x="170" y="438"/>
                    </a:cubicBezTo>
                  </a:path>
                </a:pathLst>
              </a:custGeom>
              <a:noFill/>
              <a:ln w="6350" cap="flat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900" b="0">
                  <a:solidFill>
                    <a:srgbClr val="000000"/>
                  </a:solidFill>
                  <a:latin typeface="Calibri"/>
                  <a:cs typeface="+mn-cs"/>
                </a:endParaRPr>
              </a:p>
            </p:txBody>
          </p:sp>
        </p:grpSp>
        <p:grpSp>
          <p:nvGrpSpPr>
            <p:cNvPr id="5" name="Group 21"/>
            <p:cNvGrpSpPr/>
            <p:nvPr userDrawn="1">
              <p:custDataLst>
                <p:tags r:id="rId8"/>
              </p:custDataLst>
            </p:nvPr>
          </p:nvGrpSpPr>
          <p:grpSpPr>
            <a:xfrm>
              <a:off x="6450012" y="3926681"/>
              <a:ext cx="3425033" cy="1653383"/>
              <a:chOff x="6450011" y="3926681"/>
              <a:chExt cx="3425034" cy="1653383"/>
            </a:xfrm>
          </p:grpSpPr>
          <p:sp>
            <p:nvSpPr>
              <p:cNvPr id="8" name="Oval 22"/>
              <p:cNvSpPr/>
              <p:nvPr/>
            </p:nvSpPr>
            <p:spPr>
              <a:xfrm>
                <a:off x="6821486" y="40433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9" name="Oval 23"/>
              <p:cNvSpPr/>
              <p:nvPr/>
            </p:nvSpPr>
            <p:spPr>
              <a:xfrm>
                <a:off x="6450011" y="428386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Oval 24"/>
              <p:cNvSpPr/>
              <p:nvPr/>
            </p:nvSpPr>
            <p:spPr>
              <a:xfrm>
                <a:off x="6528592" y="45005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Oval 25"/>
              <p:cNvSpPr/>
              <p:nvPr/>
            </p:nvSpPr>
            <p:spPr>
              <a:xfrm>
                <a:off x="6685755" y="46815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Oval 26"/>
              <p:cNvSpPr/>
              <p:nvPr/>
            </p:nvSpPr>
            <p:spPr>
              <a:xfrm>
                <a:off x="7235824" y="51506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Oval 27"/>
              <p:cNvSpPr/>
              <p:nvPr/>
            </p:nvSpPr>
            <p:spPr>
              <a:xfrm>
                <a:off x="6969124" y="5484018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Oval 28"/>
              <p:cNvSpPr/>
              <p:nvPr/>
            </p:nvSpPr>
            <p:spPr>
              <a:xfrm>
                <a:off x="7121524" y="552450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Oval 29"/>
              <p:cNvSpPr/>
              <p:nvPr/>
            </p:nvSpPr>
            <p:spPr>
              <a:xfrm>
                <a:off x="9819481" y="547687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Oval 30"/>
              <p:cNvSpPr/>
              <p:nvPr/>
            </p:nvSpPr>
            <p:spPr>
              <a:xfrm>
                <a:off x="9271793" y="4964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Oval 31"/>
              <p:cNvSpPr/>
              <p:nvPr/>
            </p:nvSpPr>
            <p:spPr>
              <a:xfrm>
                <a:off x="9324181" y="46982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Oval 32"/>
              <p:cNvSpPr/>
              <p:nvPr/>
            </p:nvSpPr>
            <p:spPr>
              <a:xfrm>
                <a:off x="9409906" y="47267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Oval 33"/>
              <p:cNvSpPr/>
              <p:nvPr/>
            </p:nvSpPr>
            <p:spPr>
              <a:xfrm>
                <a:off x="9419431" y="458866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Oval 34"/>
              <p:cNvSpPr/>
              <p:nvPr/>
            </p:nvSpPr>
            <p:spPr>
              <a:xfrm>
                <a:off x="9095581" y="44005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1" name="Oval 35"/>
              <p:cNvSpPr/>
              <p:nvPr/>
            </p:nvSpPr>
            <p:spPr>
              <a:xfrm>
                <a:off x="8933656" y="46839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2" name="Oval 36"/>
              <p:cNvSpPr/>
              <p:nvPr/>
            </p:nvSpPr>
            <p:spPr>
              <a:xfrm>
                <a:off x="8600281" y="454818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3" name="Oval 37"/>
              <p:cNvSpPr/>
              <p:nvPr/>
            </p:nvSpPr>
            <p:spPr>
              <a:xfrm>
                <a:off x="8612187" y="4674394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4" name="Oval 38"/>
              <p:cNvSpPr/>
              <p:nvPr/>
            </p:nvSpPr>
            <p:spPr>
              <a:xfrm>
                <a:off x="8369300" y="4379119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5" name="Oval 39"/>
              <p:cNvSpPr/>
              <p:nvPr/>
            </p:nvSpPr>
            <p:spPr>
              <a:xfrm>
                <a:off x="7845425" y="4438650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6" name="Oval 40"/>
              <p:cNvSpPr/>
              <p:nvPr/>
            </p:nvSpPr>
            <p:spPr>
              <a:xfrm>
                <a:off x="7914482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7" name="Oval 41"/>
              <p:cNvSpPr/>
              <p:nvPr/>
            </p:nvSpPr>
            <p:spPr>
              <a:xfrm>
                <a:off x="7983538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8" name="Oval 42"/>
              <p:cNvSpPr/>
              <p:nvPr/>
            </p:nvSpPr>
            <p:spPr>
              <a:xfrm>
                <a:off x="8052595" y="417433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9" name="Oval 43"/>
              <p:cNvSpPr/>
              <p:nvPr/>
            </p:nvSpPr>
            <p:spPr>
              <a:xfrm>
                <a:off x="8031163" y="40481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Oval 44"/>
              <p:cNvSpPr/>
              <p:nvPr/>
            </p:nvSpPr>
            <p:spPr>
              <a:xfrm>
                <a:off x="8138320" y="39266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Oval 45"/>
              <p:cNvSpPr/>
              <p:nvPr/>
            </p:nvSpPr>
            <p:spPr>
              <a:xfrm>
                <a:off x="8212138" y="3967162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Oval 46"/>
              <p:cNvSpPr/>
              <p:nvPr/>
            </p:nvSpPr>
            <p:spPr>
              <a:xfrm>
                <a:off x="8145463" y="40338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Oval 47"/>
              <p:cNvSpPr/>
              <p:nvPr/>
            </p:nvSpPr>
            <p:spPr>
              <a:xfrm>
                <a:off x="8085932" y="41243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Oval 48"/>
              <p:cNvSpPr/>
              <p:nvPr/>
            </p:nvSpPr>
            <p:spPr>
              <a:xfrm>
                <a:off x="8150226" y="4117181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5" name="Oval 49"/>
              <p:cNvSpPr/>
              <p:nvPr/>
            </p:nvSpPr>
            <p:spPr>
              <a:xfrm>
                <a:off x="8204995" y="4148137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6" name="Oval 50"/>
              <p:cNvSpPr/>
              <p:nvPr/>
            </p:nvSpPr>
            <p:spPr>
              <a:xfrm>
                <a:off x="8240713" y="4198143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7" name="Oval 51"/>
              <p:cNvSpPr/>
              <p:nvPr/>
            </p:nvSpPr>
            <p:spPr>
              <a:xfrm>
                <a:off x="8243095" y="426005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8" name="Oval 52"/>
              <p:cNvSpPr/>
              <p:nvPr/>
            </p:nvSpPr>
            <p:spPr>
              <a:xfrm>
                <a:off x="8171657" y="4276725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39" name="Oval 53"/>
              <p:cNvSpPr/>
              <p:nvPr/>
            </p:nvSpPr>
            <p:spPr>
              <a:xfrm>
                <a:off x="8128795" y="4202906"/>
                <a:ext cx="55564" cy="55564"/>
              </a:xfrm>
              <a:prstGeom prst="ellipse">
                <a:avLst/>
              </a:prstGeom>
              <a:solidFill>
                <a:srgbClr val="193D5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57756" fontAlgn="auto">
                  <a:spcBef>
                    <a:spcPts val="0"/>
                  </a:spcBef>
                  <a:spcAft>
                    <a:spcPts val="0"/>
                  </a:spcAft>
                </a:pPr>
                <a:endParaRPr lang="en-US" sz="1300" b="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335" name="Rectangle 9"/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gray">
          <a:xfrm>
            <a:off x="1031966" y="3617150"/>
            <a:ext cx="393216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algn="just" defTabSz="10429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>
                <a:solidFill>
                  <a:prstClr val="white"/>
                </a:solidFill>
                <a:latin typeface="Arial"/>
                <a:cs typeface="Arial"/>
              </a:rPr>
              <a:t>About Capgemini</a:t>
            </a:r>
            <a:endParaRPr lang="en-US" sz="1000" b="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  <a:p>
            <a:pPr algn="just" defTabSz="957756" fontAlgn="auto">
              <a:spcBef>
                <a:spcPts val="0"/>
              </a:spcBef>
              <a:spcAft>
                <a:spcPts val="0"/>
              </a:spcAft>
            </a:pPr>
            <a:endParaRPr lang="en-US" sz="1000" b="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  <a:p>
            <a:pPr algn="just" defTabSz="957756" fontAlgn="auto">
              <a:spcBef>
                <a:spcPts val="0"/>
              </a:spcBef>
              <a:spcAft>
                <a:spcPts val="0"/>
              </a:spcAft>
            </a:pPr>
            <a:r>
              <a:rPr lang="en-US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algn="just" defTabSz="957756" fontAlgn="auto">
              <a:spcBef>
                <a:spcPts val="0"/>
              </a:spcBef>
              <a:spcAft>
                <a:spcPts val="0"/>
              </a:spcAft>
            </a:pPr>
            <a:r>
              <a:rPr lang="en-US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="0" baseline="3000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="0" baseline="300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algn="just" defTabSz="957756" fontAlgn="auto">
              <a:spcBef>
                <a:spcPts val="0"/>
              </a:spcBef>
              <a:spcAft>
                <a:spcPts val="0"/>
              </a:spcAft>
            </a:pPr>
            <a:endParaRPr lang="en-US" sz="1050" b="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  <a:p>
            <a:pPr algn="just" defTabSz="957756" fontAlgn="auto">
              <a:spcBef>
                <a:spcPts val="0"/>
              </a:spcBef>
              <a:spcAft>
                <a:spcPts val="0"/>
              </a:spcAft>
            </a:pPr>
            <a:r>
              <a:rPr lang="en-US" sz="900" b="0" i="1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b="0" i="1" baseline="300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b="0" i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kern="0" noProof="1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338" name="Image 337" descr="CBE_Label_ppt.png"/>
          <p:cNvPicPr>
            <a:picLocks noChangeAspect="1"/>
          </p:cNvPicPr>
          <p:nvPr userDrawn="1"/>
        </p:nvPicPr>
        <p:blipFill>
          <a:blip r:embed="rId12" cstate="print"/>
          <a:stretch>
            <a:fillRect/>
          </a:stretch>
        </p:blipFill>
        <p:spPr>
          <a:xfrm>
            <a:off x="800977" y="3468294"/>
            <a:ext cx="479605" cy="522508"/>
          </a:xfrm>
          <a:prstGeom prst="rect">
            <a:avLst/>
          </a:prstGeom>
        </p:spPr>
      </p:pic>
      <p:sp>
        <p:nvSpPr>
          <p:cNvPr id="340" name="Rectangle 339"/>
          <p:cNvSpPr/>
          <p:nvPr userDrawn="1">
            <p:custDataLst>
              <p:tags r:id="rId5"/>
            </p:custDataLst>
          </p:nvPr>
        </p:nvSpPr>
        <p:spPr>
          <a:xfrm>
            <a:off x="5099001" y="6387244"/>
            <a:ext cx="4045000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 defTabSz="9577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0" dirty="0">
                <a:solidFill>
                  <a:prstClr val="white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 defTabSz="957756" fontAlgn="auto">
              <a:spcBef>
                <a:spcPts val="0"/>
              </a:spcBef>
              <a:spcAft>
                <a:spcPts val="0"/>
              </a:spcAft>
            </a:pPr>
            <a:r>
              <a:rPr lang="de-DE" sz="700" b="0" dirty="0">
                <a:solidFill>
                  <a:prstClr val="white"/>
                </a:solidFill>
                <a:latin typeface="Arial"/>
                <a:cs typeface="Arial"/>
              </a:rPr>
              <a:t>Copyright </a:t>
            </a:r>
            <a:r>
              <a:rPr lang="en-US" sz="700" b="0" dirty="0">
                <a:solidFill>
                  <a:prstClr val="white"/>
                </a:solidFill>
                <a:latin typeface="Arial"/>
                <a:cs typeface="Arial"/>
              </a:rPr>
              <a:t>© 2014 </a:t>
            </a:r>
            <a:r>
              <a:rPr lang="en-US" sz="700" b="0" dirty="0" err="1">
                <a:solidFill>
                  <a:prstClr val="white"/>
                </a:solidFill>
                <a:latin typeface="Arial"/>
                <a:cs typeface="Arial"/>
              </a:rPr>
              <a:t>Capgemini</a:t>
            </a:r>
            <a:r>
              <a:rPr lang="en-US" sz="700" b="0" dirty="0">
                <a:solidFill>
                  <a:prstClr val="white"/>
                </a:solidFill>
                <a:latin typeface="Arial"/>
                <a:cs typeface="Arial"/>
              </a:rPr>
              <a:t>. All rights reserved.</a:t>
            </a:r>
            <a:endParaRPr lang="de-DE" sz="700" b="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336" name="Rectangle 335"/>
          <p:cNvSpPr/>
          <p:nvPr userDrawn="1">
            <p:custDataLst>
              <p:tags r:id="rId6"/>
            </p:custDataLst>
          </p:nvPr>
        </p:nvSpPr>
        <p:spPr>
          <a:xfrm>
            <a:off x="6220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 defTabSz="957756" fontAlgn="auto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</p:spTree>
    <p:extLst>
      <p:ext uri="{BB962C8B-B14F-4D97-AF65-F5344CB8AC3E}">
        <p14:creationId xmlns:p14="http://schemas.microsoft.com/office/powerpoint/2010/main" val="21056951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2 englis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3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9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4879571" y="2940256"/>
            <a:ext cx="3932160" cy="2376667"/>
          </a:xfrm>
          <a:custGeom>
            <a:avLst/>
            <a:gdLst>
              <a:gd name="connsiteX0" fmla="*/ 0 w 4423977"/>
              <a:gd name="connsiteY0" fmla="*/ 164137 h 2296914"/>
              <a:gd name="connsiteX1" fmla="*/ 48075 w 4423977"/>
              <a:gd name="connsiteY1" fmla="*/ 48075 h 2296914"/>
              <a:gd name="connsiteX2" fmla="*/ 164138 w 4423977"/>
              <a:gd name="connsiteY2" fmla="*/ 1 h 2296914"/>
              <a:gd name="connsiteX3" fmla="*/ 4259840 w 4423977"/>
              <a:gd name="connsiteY3" fmla="*/ 0 h 2296914"/>
              <a:gd name="connsiteX4" fmla="*/ 4375902 w 4423977"/>
              <a:gd name="connsiteY4" fmla="*/ 48075 h 2296914"/>
              <a:gd name="connsiteX5" fmla="*/ 4423976 w 4423977"/>
              <a:gd name="connsiteY5" fmla="*/ 164138 h 2296914"/>
              <a:gd name="connsiteX6" fmla="*/ 4423977 w 4423977"/>
              <a:gd name="connsiteY6" fmla="*/ 2132777 h 2296914"/>
              <a:gd name="connsiteX7" fmla="*/ 4375902 w 4423977"/>
              <a:gd name="connsiteY7" fmla="*/ 2248839 h 2296914"/>
              <a:gd name="connsiteX8" fmla="*/ 4259840 w 4423977"/>
              <a:gd name="connsiteY8" fmla="*/ 2296914 h 2296914"/>
              <a:gd name="connsiteX9" fmla="*/ 164137 w 4423977"/>
              <a:gd name="connsiteY9" fmla="*/ 2296914 h 2296914"/>
              <a:gd name="connsiteX10" fmla="*/ 48075 w 4423977"/>
              <a:gd name="connsiteY10" fmla="*/ 2248839 h 2296914"/>
              <a:gd name="connsiteX11" fmla="*/ 0 w 4423977"/>
              <a:gd name="connsiteY11" fmla="*/ 2132777 h 2296914"/>
              <a:gd name="connsiteX12" fmla="*/ 0 w 4423977"/>
              <a:gd name="connsiteY12" fmla="*/ 164137 h 2296914"/>
              <a:gd name="connsiteX0" fmla="*/ 0 w 4969813"/>
              <a:gd name="connsiteY0" fmla="*/ 164137 h 2488240"/>
              <a:gd name="connsiteX1" fmla="*/ 48075 w 4969813"/>
              <a:gd name="connsiteY1" fmla="*/ 48075 h 2488240"/>
              <a:gd name="connsiteX2" fmla="*/ 164138 w 4969813"/>
              <a:gd name="connsiteY2" fmla="*/ 1 h 2488240"/>
              <a:gd name="connsiteX3" fmla="*/ 4259840 w 4969813"/>
              <a:gd name="connsiteY3" fmla="*/ 0 h 2488240"/>
              <a:gd name="connsiteX4" fmla="*/ 4375902 w 4969813"/>
              <a:gd name="connsiteY4" fmla="*/ 48075 h 2488240"/>
              <a:gd name="connsiteX5" fmla="*/ 4423976 w 4969813"/>
              <a:gd name="connsiteY5" fmla="*/ 164138 h 2488240"/>
              <a:gd name="connsiteX6" fmla="*/ 4423977 w 4969813"/>
              <a:gd name="connsiteY6" fmla="*/ 2132777 h 2488240"/>
              <a:gd name="connsiteX7" fmla="*/ 4259840 w 4969813"/>
              <a:gd name="connsiteY7" fmla="*/ 2296914 h 2488240"/>
              <a:gd name="connsiteX8" fmla="*/ 164137 w 4969813"/>
              <a:gd name="connsiteY8" fmla="*/ 2296914 h 2488240"/>
              <a:gd name="connsiteX9" fmla="*/ 48075 w 4969813"/>
              <a:gd name="connsiteY9" fmla="*/ 2248839 h 2488240"/>
              <a:gd name="connsiteX10" fmla="*/ 0 w 4969813"/>
              <a:gd name="connsiteY10" fmla="*/ 2132777 h 2488240"/>
              <a:gd name="connsiteX11" fmla="*/ 0 w 4969813"/>
              <a:gd name="connsiteY11" fmla="*/ 164137 h 2488240"/>
              <a:gd name="connsiteX0" fmla="*/ 0 w 4969813"/>
              <a:gd name="connsiteY0" fmla="*/ 164137 h 2296914"/>
              <a:gd name="connsiteX1" fmla="*/ 48075 w 4969813"/>
              <a:gd name="connsiteY1" fmla="*/ 48075 h 2296914"/>
              <a:gd name="connsiteX2" fmla="*/ 164138 w 4969813"/>
              <a:gd name="connsiteY2" fmla="*/ 1 h 2296914"/>
              <a:gd name="connsiteX3" fmla="*/ 4259840 w 4969813"/>
              <a:gd name="connsiteY3" fmla="*/ 0 h 2296914"/>
              <a:gd name="connsiteX4" fmla="*/ 4375902 w 4969813"/>
              <a:gd name="connsiteY4" fmla="*/ 48075 h 2296914"/>
              <a:gd name="connsiteX5" fmla="*/ 4423976 w 4969813"/>
              <a:gd name="connsiteY5" fmla="*/ 164138 h 2296914"/>
              <a:gd name="connsiteX6" fmla="*/ 4259840 w 4969813"/>
              <a:gd name="connsiteY6" fmla="*/ 2296914 h 2296914"/>
              <a:gd name="connsiteX7" fmla="*/ 164137 w 4969813"/>
              <a:gd name="connsiteY7" fmla="*/ 2296914 h 2296914"/>
              <a:gd name="connsiteX8" fmla="*/ 48075 w 4969813"/>
              <a:gd name="connsiteY8" fmla="*/ 2248839 h 2296914"/>
              <a:gd name="connsiteX9" fmla="*/ 0 w 4969813"/>
              <a:gd name="connsiteY9" fmla="*/ 2132777 h 2296914"/>
              <a:gd name="connsiteX10" fmla="*/ 0 w 4969813"/>
              <a:gd name="connsiteY10" fmla="*/ 164137 h 2296914"/>
              <a:gd name="connsiteX0" fmla="*/ 0 w 4961801"/>
              <a:gd name="connsiteY0" fmla="*/ 498881 h 2631658"/>
              <a:gd name="connsiteX1" fmla="*/ 48075 w 4961801"/>
              <a:gd name="connsiteY1" fmla="*/ 382819 h 2631658"/>
              <a:gd name="connsiteX2" fmla="*/ 164138 w 4961801"/>
              <a:gd name="connsiteY2" fmla="*/ 334745 h 2631658"/>
              <a:gd name="connsiteX3" fmla="*/ 4259840 w 4961801"/>
              <a:gd name="connsiteY3" fmla="*/ 334744 h 2631658"/>
              <a:gd name="connsiteX4" fmla="*/ 4375902 w 4961801"/>
              <a:gd name="connsiteY4" fmla="*/ 382819 h 2631658"/>
              <a:gd name="connsiteX5" fmla="*/ 4259840 w 4961801"/>
              <a:gd name="connsiteY5" fmla="*/ 2631658 h 2631658"/>
              <a:gd name="connsiteX6" fmla="*/ 164137 w 4961801"/>
              <a:gd name="connsiteY6" fmla="*/ 2631658 h 2631658"/>
              <a:gd name="connsiteX7" fmla="*/ 48075 w 4961801"/>
              <a:gd name="connsiteY7" fmla="*/ 2583583 h 2631658"/>
              <a:gd name="connsiteX8" fmla="*/ 0 w 4961801"/>
              <a:gd name="connsiteY8" fmla="*/ 2467521 h 2631658"/>
              <a:gd name="connsiteX9" fmla="*/ 0 w 4961801"/>
              <a:gd name="connsiteY9" fmla="*/ 498881 h 2631658"/>
              <a:gd name="connsiteX0" fmla="*/ 0 w 4942457"/>
              <a:gd name="connsiteY0" fmla="*/ 164137 h 2296914"/>
              <a:gd name="connsiteX1" fmla="*/ 48075 w 4942457"/>
              <a:gd name="connsiteY1" fmla="*/ 48075 h 2296914"/>
              <a:gd name="connsiteX2" fmla="*/ 164138 w 4942457"/>
              <a:gd name="connsiteY2" fmla="*/ 1 h 2296914"/>
              <a:gd name="connsiteX3" fmla="*/ 4259840 w 4942457"/>
              <a:gd name="connsiteY3" fmla="*/ 0 h 2296914"/>
              <a:gd name="connsiteX4" fmla="*/ 4259840 w 4942457"/>
              <a:gd name="connsiteY4" fmla="*/ 2296914 h 2296914"/>
              <a:gd name="connsiteX5" fmla="*/ 164137 w 4942457"/>
              <a:gd name="connsiteY5" fmla="*/ 2296914 h 2296914"/>
              <a:gd name="connsiteX6" fmla="*/ 48075 w 4942457"/>
              <a:gd name="connsiteY6" fmla="*/ 2248839 h 2296914"/>
              <a:gd name="connsiteX7" fmla="*/ 0 w 4942457"/>
              <a:gd name="connsiteY7" fmla="*/ 2132777 h 2296914"/>
              <a:gd name="connsiteX8" fmla="*/ 0 w 4942457"/>
              <a:gd name="connsiteY8" fmla="*/ 164137 h 2296914"/>
              <a:gd name="connsiteX0" fmla="*/ 4259840 w 4942457"/>
              <a:gd name="connsiteY0" fmla="*/ 0 h 2296914"/>
              <a:gd name="connsiteX1" fmla="*/ 4259840 w 4942457"/>
              <a:gd name="connsiteY1" fmla="*/ 2296914 h 2296914"/>
              <a:gd name="connsiteX2" fmla="*/ 164137 w 4942457"/>
              <a:gd name="connsiteY2" fmla="*/ 2296914 h 2296914"/>
              <a:gd name="connsiteX3" fmla="*/ 48075 w 4942457"/>
              <a:gd name="connsiteY3" fmla="*/ 2248839 h 2296914"/>
              <a:gd name="connsiteX4" fmla="*/ 0 w 4942457"/>
              <a:gd name="connsiteY4" fmla="*/ 2132777 h 2296914"/>
              <a:gd name="connsiteX5" fmla="*/ 0 w 4942457"/>
              <a:gd name="connsiteY5" fmla="*/ 164137 h 2296914"/>
              <a:gd name="connsiteX6" fmla="*/ 48075 w 4942457"/>
              <a:gd name="connsiteY6" fmla="*/ 48075 h 2296914"/>
              <a:gd name="connsiteX7" fmla="*/ 164138 w 4942457"/>
              <a:gd name="connsiteY7" fmla="*/ 1 h 2296914"/>
              <a:gd name="connsiteX8" fmla="*/ 4351280 w 4942457"/>
              <a:gd name="connsiteY8" fmla="*/ 91440 h 2296914"/>
              <a:gd name="connsiteX0" fmla="*/ 4259840 w 4351280"/>
              <a:gd name="connsiteY0" fmla="*/ 2296914 h 2296914"/>
              <a:gd name="connsiteX1" fmla="*/ 164137 w 4351280"/>
              <a:gd name="connsiteY1" fmla="*/ 2296914 h 2296914"/>
              <a:gd name="connsiteX2" fmla="*/ 48075 w 4351280"/>
              <a:gd name="connsiteY2" fmla="*/ 2248839 h 2296914"/>
              <a:gd name="connsiteX3" fmla="*/ 0 w 4351280"/>
              <a:gd name="connsiteY3" fmla="*/ 2132777 h 2296914"/>
              <a:gd name="connsiteX4" fmla="*/ 0 w 4351280"/>
              <a:gd name="connsiteY4" fmla="*/ 164137 h 2296914"/>
              <a:gd name="connsiteX5" fmla="*/ 48075 w 4351280"/>
              <a:gd name="connsiteY5" fmla="*/ 48075 h 2296914"/>
              <a:gd name="connsiteX6" fmla="*/ 164138 w 4351280"/>
              <a:gd name="connsiteY6" fmla="*/ 1 h 2296914"/>
              <a:gd name="connsiteX7" fmla="*/ 4351280 w 4351280"/>
              <a:gd name="connsiteY7" fmla="*/ 91440 h 2296914"/>
              <a:gd name="connsiteX0" fmla="*/ 4259840 w 4330731"/>
              <a:gd name="connsiteY0" fmla="*/ 2297942 h 2297942"/>
              <a:gd name="connsiteX1" fmla="*/ 164137 w 4330731"/>
              <a:gd name="connsiteY1" fmla="*/ 2297942 h 2297942"/>
              <a:gd name="connsiteX2" fmla="*/ 48075 w 4330731"/>
              <a:gd name="connsiteY2" fmla="*/ 2249867 h 2297942"/>
              <a:gd name="connsiteX3" fmla="*/ 0 w 4330731"/>
              <a:gd name="connsiteY3" fmla="*/ 2133805 h 2297942"/>
              <a:gd name="connsiteX4" fmla="*/ 0 w 4330731"/>
              <a:gd name="connsiteY4" fmla="*/ 165165 h 2297942"/>
              <a:gd name="connsiteX5" fmla="*/ 48075 w 4330731"/>
              <a:gd name="connsiteY5" fmla="*/ 49103 h 2297942"/>
              <a:gd name="connsiteX6" fmla="*/ 164138 w 4330731"/>
              <a:gd name="connsiteY6" fmla="*/ 1029 h 2297942"/>
              <a:gd name="connsiteX7" fmla="*/ 4330731 w 4330731"/>
              <a:gd name="connsiteY7" fmla="*/ 0 h 2297942"/>
              <a:gd name="connsiteX0" fmla="*/ 4259840 w 4259840"/>
              <a:gd name="connsiteY0" fmla="*/ 2296914 h 2296914"/>
              <a:gd name="connsiteX1" fmla="*/ 164137 w 4259840"/>
              <a:gd name="connsiteY1" fmla="*/ 2296914 h 2296914"/>
              <a:gd name="connsiteX2" fmla="*/ 48075 w 4259840"/>
              <a:gd name="connsiteY2" fmla="*/ 2248839 h 2296914"/>
              <a:gd name="connsiteX3" fmla="*/ 0 w 4259840"/>
              <a:gd name="connsiteY3" fmla="*/ 2132777 h 2296914"/>
              <a:gd name="connsiteX4" fmla="*/ 0 w 4259840"/>
              <a:gd name="connsiteY4" fmla="*/ 164137 h 2296914"/>
              <a:gd name="connsiteX5" fmla="*/ 48075 w 4259840"/>
              <a:gd name="connsiteY5" fmla="*/ 48075 h 2296914"/>
              <a:gd name="connsiteX6" fmla="*/ 164138 w 4259840"/>
              <a:gd name="connsiteY6" fmla="*/ 1 h 2296914"/>
              <a:gd name="connsiteX0" fmla="*/ 4259840 w 4259840"/>
              <a:gd name="connsiteY0" fmla="*/ 2248839 h 2248839"/>
              <a:gd name="connsiteX1" fmla="*/ 164137 w 4259840"/>
              <a:gd name="connsiteY1" fmla="*/ 2248839 h 2248839"/>
              <a:gd name="connsiteX2" fmla="*/ 48075 w 4259840"/>
              <a:gd name="connsiteY2" fmla="*/ 2200764 h 2248839"/>
              <a:gd name="connsiteX3" fmla="*/ 0 w 4259840"/>
              <a:gd name="connsiteY3" fmla="*/ 2084702 h 2248839"/>
              <a:gd name="connsiteX4" fmla="*/ 0 w 4259840"/>
              <a:gd name="connsiteY4" fmla="*/ 116062 h 2248839"/>
              <a:gd name="connsiteX5" fmla="*/ 48075 w 4259840"/>
              <a:gd name="connsiteY5" fmla="*/ 0 h 2248839"/>
              <a:gd name="connsiteX0" fmla="*/ 4259840 w 4259840"/>
              <a:gd name="connsiteY0" fmla="*/ 2132777 h 2132777"/>
              <a:gd name="connsiteX1" fmla="*/ 164137 w 4259840"/>
              <a:gd name="connsiteY1" fmla="*/ 2132777 h 2132777"/>
              <a:gd name="connsiteX2" fmla="*/ 48075 w 4259840"/>
              <a:gd name="connsiteY2" fmla="*/ 2084702 h 2132777"/>
              <a:gd name="connsiteX3" fmla="*/ 0 w 4259840"/>
              <a:gd name="connsiteY3" fmla="*/ 1968640 h 2132777"/>
              <a:gd name="connsiteX4" fmla="*/ 0 w 4259840"/>
              <a:gd name="connsiteY4" fmla="*/ 0 h 2132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259840" h="2132777">
                <a:moveTo>
                  <a:pt x="4259840" y="2132777"/>
                </a:moveTo>
                <a:lnTo>
                  <a:pt x="164137" y="2132777"/>
                </a:lnTo>
                <a:cubicBezTo>
                  <a:pt x="120605" y="2132777"/>
                  <a:pt x="78856" y="2115484"/>
                  <a:pt x="48075" y="2084702"/>
                </a:cubicBezTo>
                <a:cubicBezTo>
                  <a:pt x="17293" y="2053920"/>
                  <a:pt x="0" y="2012171"/>
                  <a:pt x="0" y="1968640"/>
                </a:cubicBezTo>
                <a:lnTo>
                  <a:pt x="0" y="0"/>
                </a:lnTo>
              </a:path>
            </a:pathLst>
          </a:custGeom>
          <a:noFill/>
          <a:ln w="19050" cap="flat" cmpd="sng" algn="ctr">
            <a:gradFill flip="none" rotWithShape="1">
              <a:gsLst>
                <a:gs pos="0">
                  <a:schemeClr val="accent5"/>
                </a:gs>
                <a:gs pos="100000">
                  <a:schemeClr val="accent5">
                    <a:lumMod val="20000"/>
                    <a:lumOff val="80000"/>
                  </a:schemeClr>
                </a:gs>
              </a:gsLst>
              <a:lin ang="240000" scaled="0"/>
              <a:tileRect/>
            </a:gradFill>
            <a:prstDash val="solid"/>
            <a:round/>
          </a:ln>
          <a:effectLst/>
        </p:spPr>
        <p:txBody>
          <a:bodyPr wrap="square" lIns="360000" tIns="50951" rIns="216000" bIns="144000" rtlCol="0" anchor="b"/>
          <a:lstStyle/>
          <a:p>
            <a:pPr algn="just" defTabSz="104296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800" dirty="0">
                <a:solidFill>
                  <a:prstClr val="white"/>
                </a:solidFill>
                <a:latin typeface="Arial"/>
                <a:cs typeface="Arial"/>
              </a:rPr>
              <a:t>About Capgemini</a:t>
            </a:r>
            <a:endParaRPr lang="en-US" sz="1000" b="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  <a:p>
            <a:pPr algn="just" defTabSz="957756" fontAlgn="auto">
              <a:spcBef>
                <a:spcPts val="0"/>
              </a:spcBef>
              <a:spcAft>
                <a:spcPts val="0"/>
              </a:spcAft>
            </a:pPr>
            <a:endParaRPr lang="en-US" sz="1000" b="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  <a:p>
            <a:pPr algn="just" defTabSz="957756" fontAlgn="auto">
              <a:spcBef>
                <a:spcPts val="0"/>
              </a:spcBef>
              <a:spcAft>
                <a:spcPts val="0"/>
              </a:spcAft>
            </a:pPr>
            <a:r>
              <a:rPr lang="en-US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With more than 130,000 people in 44 countries, </a:t>
            </a:r>
            <a:r>
              <a:rPr lang="en-US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is one of the world's foremost providers of consulting, technology and outsourcing services. The Group reported 2012 global revenues of EUR 10.3 billion. </a:t>
            </a:r>
          </a:p>
          <a:p>
            <a:pPr algn="just" defTabSz="957756" fontAlgn="auto">
              <a:spcBef>
                <a:spcPts val="0"/>
              </a:spcBef>
              <a:spcAft>
                <a:spcPts val="0"/>
              </a:spcAft>
            </a:pPr>
            <a:r>
              <a:rPr lang="en-US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ogether with its clients, </a:t>
            </a:r>
            <a:r>
              <a:rPr lang="en-US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creates and delivers business and technology solutions that fit their needs and drive the results they want. A deeply multicultural organization, </a:t>
            </a:r>
            <a:r>
              <a:rPr lang="en-US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Capgemini</a:t>
            </a:r>
            <a:r>
              <a:rPr lang="en-US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has developed its own way of working, the Collaborative Business </a:t>
            </a:r>
            <a:r>
              <a:rPr lang="en-US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Experience</a:t>
            </a:r>
            <a:r>
              <a:rPr lang="en-US" sz="1000" b="0" baseline="3000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TM</a:t>
            </a:r>
            <a:r>
              <a:rPr lang="en-US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, and draws on </a:t>
            </a:r>
            <a:r>
              <a:rPr lang="en-US" sz="1000" b="0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1000" b="0" baseline="300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1000" b="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, its worldwide delivery model.</a:t>
            </a:r>
          </a:p>
          <a:p>
            <a:pPr algn="just" defTabSz="957756" fontAlgn="auto">
              <a:spcBef>
                <a:spcPts val="0"/>
              </a:spcBef>
              <a:spcAft>
                <a:spcPts val="0"/>
              </a:spcAft>
            </a:pPr>
            <a:endParaRPr lang="en-US" sz="1050" b="0" dirty="0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  <a:p>
            <a:pPr algn="just" defTabSz="957756" fontAlgn="auto">
              <a:spcBef>
                <a:spcPts val="0"/>
              </a:spcBef>
              <a:spcAft>
                <a:spcPts val="0"/>
              </a:spcAft>
            </a:pPr>
            <a:r>
              <a:rPr lang="en-US" sz="900" b="0" i="1" dirty="0" err="1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Rightshore</a:t>
            </a:r>
            <a:r>
              <a:rPr lang="en-US" sz="900" b="0" i="1" baseline="300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®</a:t>
            </a:r>
            <a:r>
              <a:rPr lang="en-US" sz="900" b="0" i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 is a trademark belonging to Capgemini</a:t>
            </a:r>
            <a:endParaRPr lang="en-US" sz="900" kern="0" noProof="1">
              <a:solidFill>
                <a:prstClr val="white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7" name="Image 6" descr="CBE_Label_ppt.png"/>
          <p:cNvPicPr>
            <a:picLocks noChangeAspect="1"/>
          </p:cNvPicPr>
          <p:nvPr userDrawn="1"/>
        </p:nvPicPr>
        <p:blipFill>
          <a:blip r:embed="rId9" cstate="print"/>
          <a:stretch>
            <a:fillRect/>
          </a:stretch>
        </p:blipFill>
        <p:spPr>
          <a:xfrm>
            <a:off x="4648582" y="2791400"/>
            <a:ext cx="479605" cy="522508"/>
          </a:xfrm>
          <a:prstGeom prst="rect">
            <a:avLst/>
          </a:prstGeom>
        </p:spPr>
      </p:pic>
      <p:sp>
        <p:nvSpPr>
          <p:cNvPr id="10" name="Rectangle 9"/>
          <p:cNvSpPr/>
          <p:nvPr userDrawn="1">
            <p:custDataLst>
              <p:tags r:id="rId4"/>
            </p:custDataLst>
          </p:nvPr>
        </p:nvSpPr>
        <p:spPr>
          <a:xfrm>
            <a:off x="5099001" y="6387244"/>
            <a:ext cx="4045000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 defTabSz="9577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0" dirty="0">
                <a:solidFill>
                  <a:prstClr val="white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 defTabSz="957756" fontAlgn="auto">
              <a:spcBef>
                <a:spcPts val="0"/>
              </a:spcBef>
              <a:spcAft>
                <a:spcPts val="0"/>
              </a:spcAft>
            </a:pPr>
            <a:r>
              <a:rPr lang="de-DE" sz="700" b="0" dirty="0">
                <a:solidFill>
                  <a:prstClr val="white"/>
                </a:solidFill>
                <a:latin typeface="Arial"/>
                <a:cs typeface="Arial"/>
              </a:rPr>
              <a:t>Copyright </a:t>
            </a:r>
            <a:r>
              <a:rPr lang="en-US" sz="700" b="0" dirty="0">
                <a:solidFill>
                  <a:prstClr val="white"/>
                </a:solidFill>
                <a:latin typeface="Arial"/>
                <a:cs typeface="Arial"/>
              </a:rPr>
              <a:t>© 2014 </a:t>
            </a:r>
            <a:r>
              <a:rPr lang="en-US" sz="700" b="0" dirty="0" err="1">
                <a:solidFill>
                  <a:prstClr val="white"/>
                </a:solidFill>
                <a:latin typeface="Arial"/>
                <a:cs typeface="Arial"/>
              </a:rPr>
              <a:t>Capgemini</a:t>
            </a:r>
            <a:r>
              <a:rPr lang="en-US" sz="700" b="0" dirty="0">
                <a:solidFill>
                  <a:prstClr val="white"/>
                </a:solidFill>
                <a:latin typeface="Arial"/>
                <a:cs typeface="Arial"/>
              </a:rPr>
              <a:t>. All rights reserved.</a:t>
            </a:r>
            <a:endParaRPr lang="de-DE" sz="700" b="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8" name="Rectangle 7"/>
          <p:cNvSpPr/>
          <p:nvPr userDrawn="1">
            <p:custDataLst>
              <p:tags r:id="rId5"/>
            </p:custDataLst>
          </p:nvPr>
        </p:nvSpPr>
        <p:spPr>
          <a:xfrm>
            <a:off x="6220878" y="5457935"/>
            <a:ext cx="2923122" cy="380480"/>
          </a:xfrm>
          <a:prstGeom prst="rect">
            <a:avLst/>
          </a:prstGeom>
        </p:spPr>
        <p:txBody>
          <a:bodyPr wrap="none" lIns="36000" tIns="36000" rIns="360000" bIns="36000" anchor="b" anchorCtr="0">
            <a:spAutoFit/>
          </a:bodyPr>
          <a:lstStyle/>
          <a:p>
            <a:pPr algn="r" defTabSz="957756" fontAlgn="auto">
              <a:spcBef>
                <a:spcPts val="0"/>
              </a:spcBef>
              <a:spcAft>
                <a:spcPts val="0"/>
              </a:spcAft>
            </a:pPr>
            <a:r>
              <a:rPr lang="en-US" sz="2000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www.capgemini.com</a:t>
            </a:r>
          </a:p>
        </p:txBody>
      </p:sp>
    </p:spTree>
    <p:extLst>
      <p:ext uri="{BB962C8B-B14F-4D97-AF65-F5344CB8AC3E}">
        <p14:creationId xmlns:p14="http://schemas.microsoft.com/office/powerpoint/2010/main" val="38934802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 userDrawn="1">
            <p:custDataLst>
              <p:tags r:id="rId3"/>
            </p:custDataLst>
          </p:nvPr>
        </p:nvSpPr>
        <p:spPr>
          <a:xfrm>
            <a:off x="5099001" y="6387244"/>
            <a:ext cx="4045000" cy="282207"/>
          </a:xfrm>
          <a:prstGeom prst="rect">
            <a:avLst/>
          </a:prstGeom>
        </p:spPr>
        <p:txBody>
          <a:bodyPr wrap="square" lIns="33059" tIns="33059" rIns="330588" bIns="33059" anchor="b" anchorCtr="0">
            <a:spAutoFit/>
          </a:bodyPr>
          <a:lstStyle/>
          <a:p>
            <a:pPr algn="r" defTabSz="9577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700" b="0" dirty="0">
                <a:solidFill>
                  <a:prstClr val="white"/>
                </a:solidFill>
                <a:latin typeface="Arial"/>
                <a:cs typeface="Arial"/>
              </a:rPr>
              <a:t>The information contained in this presentation is proprietary.</a:t>
            </a:r>
          </a:p>
          <a:p>
            <a:pPr algn="r" defTabSz="957756" fontAlgn="auto">
              <a:spcBef>
                <a:spcPts val="0"/>
              </a:spcBef>
              <a:spcAft>
                <a:spcPts val="0"/>
              </a:spcAft>
            </a:pPr>
            <a:r>
              <a:rPr lang="de-DE" sz="700" b="0" dirty="0">
                <a:solidFill>
                  <a:prstClr val="white"/>
                </a:solidFill>
                <a:latin typeface="Arial"/>
                <a:cs typeface="Arial"/>
              </a:rPr>
              <a:t>Copyright </a:t>
            </a:r>
            <a:r>
              <a:rPr lang="en-US" sz="700" b="0" dirty="0">
                <a:solidFill>
                  <a:prstClr val="white"/>
                </a:solidFill>
                <a:latin typeface="Arial"/>
                <a:cs typeface="Arial"/>
              </a:rPr>
              <a:t>© 2014 </a:t>
            </a:r>
            <a:r>
              <a:rPr lang="en-US" sz="700" b="0" dirty="0" err="1">
                <a:solidFill>
                  <a:prstClr val="white"/>
                </a:solidFill>
                <a:latin typeface="Arial"/>
                <a:cs typeface="Arial"/>
              </a:rPr>
              <a:t>Capgemini</a:t>
            </a:r>
            <a:r>
              <a:rPr lang="en-US" sz="700" b="0" dirty="0">
                <a:solidFill>
                  <a:prstClr val="white"/>
                </a:solidFill>
                <a:latin typeface="Arial"/>
                <a:cs typeface="Arial"/>
              </a:rPr>
              <a:t>. All rights reserved.</a:t>
            </a:r>
            <a:endParaRPr lang="de-DE" sz="700" b="0" dirty="0">
              <a:solidFill>
                <a:prstClr val="white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431212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/>
          <p:cNvGrpSpPr>
            <a:grpSpLocks/>
          </p:cNvGrpSpPr>
          <p:nvPr/>
        </p:nvGrpSpPr>
        <p:grpSpPr bwMode="auto">
          <a:xfrm>
            <a:off x="0" y="2438400"/>
            <a:ext cx="9009063" cy="1052513"/>
            <a:chOff x="0" y="1536"/>
            <a:chExt cx="5675" cy="663"/>
          </a:xfrm>
        </p:grpSpPr>
        <p:grpSp>
          <p:nvGrpSpPr>
            <p:cNvPr id="5" name="Group 3"/>
            <p:cNvGrpSpPr>
              <a:grpSpLocks/>
            </p:cNvGrpSpPr>
            <p:nvPr/>
          </p:nvGrpSpPr>
          <p:grpSpPr bwMode="auto">
            <a:xfrm>
              <a:off x="185" y="1604"/>
              <a:ext cx="449" cy="299"/>
              <a:chOff x="720" y="336"/>
              <a:chExt cx="624" cy="432"/>
            </a:xfrm>
          </p:grpSpPr>
          <p:sp>
            <p:nvSpPr>
              <p:cNvPr id="12" name="Rectangle 4"/>
              <p:cNvSpPr>
                <a:spLocks noChangeArrowheads="1"/>
              </p:cNvSpPr>
              <p:nvPr/>
            </p:nvSpPr>
            <p:spPr bwMode="auto">
              <a:xfrm>
                <a:off x="720" y="336"/>
                <a:ext cx="384" cy="432"/>
              </a:xfrm>
              <a:prstGeom prst="rect">
                <a:avLst/>
              </a:prstGeom>
              <a:solidFill>
                <a:schemeClr val="folHlink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de-DE">
                  <a:solidFill>
                    <a:srgbClr val="000000"/>
                  </a:solidFill>
                </a:endParaRPr>
              </a:p>
            </p:txBody>
          </p:sp>
          <p:sp>
            <p:nvSpPr>
              <p:cNvPr id="13" name="Rectangle 5"/>
              <p:cNvSpPr>
                <a:spLocks noChangeArrowheads="1"/>
              </p:cNvSpPr>
              <p:nvPr/>
            </p:nvSpPr>
            <p:spPr bwMode="auto">
              <a:xfrm>
                <a:off x="1056" y="336"/>
                <a:ext cx="288" cy="432"/>
              </a:xfrm>
              <a:prstGeom prst="rect">
                <a:avLst/>
              </a:prstGeom>
              <a:gradFill rotWithShape="0">
                <a:gsLst>
                  <a:gs pos="0">
                    <a:schemeClr val="folHlink"/>
                  </a:gs>
                  <a:gs pos="100000">
                    <a:schemeClr val="bg1"/>
                  </a:gs>
                </a:gsLst>
                <a:lin ang="0" scaled="1"/>
              </a:gra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de-DE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" name="Group 6"/>
            <p:cNvGrpSpPr>
              <a:grpSpLocks/>
            </p:cNvGrpSpPr>
            <p:nvPr/>
          </p:nvGrpSpPr>
          <p:grpSpPr bwMode="auto">
            <a:xfrm>
              <a:off x="263" y="1870"/>
              <a:ext cx="466" cy="299"/>
              <a:chOff x="912" y="2640"/>
              <a:chExt cx="672" cy="432"/>
            </a:xfrm>
          </p:grpSpPr>
          <p:sp>
            <p:nvSpPr>
              <p:cNvPr id="10" name="Rectangle 7"/>
              <p:cNvSpPr>
                <a:spLocks noChangeArrowheads="1"/>
              </p:cNvSpPr>
              <p:nvPr/>
            </p:nvSpPr>
            <p:spPr bwMode="auto">
              <a:xfrm>
                <a:off x="912" y="2640"/>
                <a:ext cx="384" cy="432"/>
              </a:xfrm>
              <a:prstGeom prst="rect">
                <a:avLst/>
              </a:prstGeom>
              <a:solidFill>
                <a:schemeClr val="accent2"/>
              </a:soli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de-DE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Rectangle 8"/>
              <p:cNvSpPr>
                <a:spLocks noChangeArrowheads="1"/>
              </p:cNvSpPr>
              <p:nvPr/>
            </p:nvSpPr>
            <p:spPr bwMode="auto">
              <a:xfrm>
                <a:off x="1248" y="2640"/>
                <a:ext cx="336" cy="432"/>
              </a:xfrm>
              <a:prstGeom prst="rect">
                <a:avLst/>
              </a:prstGeom>
              <a:gradFill rotWithShape="0">
                <a:gsLst>
                  <a:gs pos="0">
                    <a:schemeClr val="accent2"/>
                  </a:gs>
                  <a:gs pos="100000">
                    <a:schemeClr val="bg1"/>
                  </a:gs>
                </a:gsLst>
                <a:lin ang="0" scaled="1"/>
              </a:gradFill>
              <a:ln w="9525">
                <a:noFill/>
                <a:miter lim="800000"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de-DE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7" name="Rectangle 9"/>
            <p:cNvSpPr>
              <a:spLocks noChangeArrowheads="1"/>
            </p:cNvSpPr>
            <p:nvPr/>
          </p:nvSpPr>
          <p:spPr bwMode="auto">
            <a:xfrm>
              <a:off x="0" y="1824"/>
              <a:ext cx="353" cy="266"/>
            </a:xfrm>
            <a:prstGeom prst="rect">
              <a:avLst/>
            </a:prstGeom>
            <a:gradFill rotWithShape="0">
              <a:gsLst>
                <a:gs pos="0">
                  <a:schemeClr val="bg1"/>
                </a:gs>
                <a:gs pos="100000">
                  <a:schemeClr val="hlink"/>
                </a:gs>
              </a:gsLst>
              <a:lin ang="1890000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8" name="Rectangle 10"/>
            <p:cNvSpPr>
              <a:spLocks noChangeArrowheads="1"/>
            </p:cNvSpPr>
            <p:nvPr/>
          </p:nvSpPr>
          <p:spPr bwMode="auto">
            <a:xfrm>
              <a:off x="400" y="1536"/>
              <a:ext cx="20" cy="663"/>
            </a:xfrm>
            <a:prstGeom prst="rect">
              <a:avLst/>
            </a:prstGeom>
            <a:solidFill>
              <a:schemeClr val="bg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</a:endParaRPr>
            </a:p>
          </p:txBody>
        </p:sp>
        <p:sp>
          <p:nvSpPr>
            <p:cNvPr id="9" name="Rectangle 11"/>
            <p:cNvSpPr>
              <a:spLocks noChangeArrowheads="1"/>
            </p:cNvSpPr>
            <p:nvPr/>
          </p:nvSpPr>
          <p:spPr bwMode="auto">
            <a:xfrm flipV="1">
              <a:off x="199" y="2054"/>
              <a:ext cx="5476" cy="35"/>
            </a:xfrm>
            <a:prstGeom prst="rect">
              <a:avLst/>
            </a:prstGeom>
            <a:gradFill rotWithShape="0">
              <a:gsLst>
                <a:gs pos="0">
                  <a:schemeClr val="bg2"/>
                </a:gs>
                <a:gs pos="100000">
                  <a:schemeClr val="bg1"/>
                </a:gs>
              </a:gsLst>
              <a:lin ang="0" scaled="1"/>
            </a:gra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de-DE">
                <a:solidFill>
                  <a:srgbClr val="000000"/>
                </a:solidFill>
              </a:endParaRPr>
            </a:p>
          </p:txBody>
        </p:sp>
      </p:grpSp>
      <p:pic>
        <p:nvPicPr>
          <p:cNvPr id="14" name="Picture 17" descr="husiegel_bw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4325" y="260350"/>
            <a:ext cx="968375" cy="97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ectangle 18"/>
          <p:cNvSpPr>
            <a:spLocks noChangeArrowheads="1"/>
          </p:cNvSpPr>
          <p:nvPr userDrawn="1"/>
        </p:nvSpPr>
        <p:spPr bwMode="gray">
          <a:xfrm>
            <a:off x="442913" y="6400800"/>
            <a:ext cx="8226425" cy="31750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bg2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solidFill>
                <a:srgbClr val="000000"/>
              </a:solidFill>
            </a:endParaRPr>
          </a:p>
        </p:txBody>
      </p:sp>
      <p:sp>
        <p:nvSpPr>
          <p:cNvPr id="6156" name="Rectangle 12"/>
          <p:cNvSpPr>
            <a:spLocks noGrp="1" noChangeArrowheads="1"/>
          </p:cNvSpPr>
          <p:nvPr>
            <p:ph type="ctrTitle"/>
          </p:nvPr>
        </p:nvSpPr>
        <p:spPr>
          <a:xfrm>
            <a:off x="990600" y="1828800"/>
            <a:ext cx="7772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Klicken Sie, um das Titelformat zu bearbeiten</a:t>
            </a:r>
          </a:p>
        </p:txBody>
      </p:sp>
      <p:sp>
        <p:nvSpPr>
          <p:cNvPr id="6157" name="Rectangle 1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Font typeface="Wingdings" pitchFamily="2" charset="2"/>
              <a:buNone/>
              <a:defRPr/>
            </a:lvl1pPr>
          </a:lstStyle>
          <a:p>
            <a:r>
              <a:rPr lang="de-DE"/>
              <a:t>Klicken Sie, um das Format des Untertitelmasters zu bearbeiten</a:t>
            </a:r>
          </a:p>
        </p:txBody>
      </p:sp>
      <p:sp>
        <p:nvSpPr>
          <p:cNvPr id="16" name="Rectangle 14"/>
          <p:cNvSpPr>
            <a:spLocks noGrp="1" noChangeArrowheads="1"/>
          </p:cNvSpPr>
          <p:nvPr>
            <p:ph type="dt" sz="half" idx="10"/>
          </p:nvPr>
        </p:nvSpPr>
        <p:spPr>
          <a:xfrm>
            <a:off x="990600" y="6248400"/>
            <a:ext cx="1905000" cy="4572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endParaRPr lang="de-DE">
              <a:solidFill>
                <a:srgbClr val="1C1C1C"/>
              </a:solidFill>
            </a:endParaRPr>
          </a:p>
        </p:txBody>
      </p:sp>
      <p:sp>
        <p:nvSpPr>
          <p:cNvPr id="17" name="Rectangle 15"/>
          <p:cNvSpPr>
            <a:spLocks noGrp="1" noChangeArrowheads="1"/>
          </p:cNvSpPr>
          <p:nvPr>
            <p:ph type="ftr" sz="quarter" idx="11"/>
          </p:nvPr>
        </p:nvSpPr>
        <p:spPr bwMode="auto">
          <a:xfrm>
            <a:off x="3429000" y="6248400"/>
            <a:ext cx="2895600" cy="45720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400" b="0">
                <a:solidFill>
                  <a:schemeClr val="bg2"/>
                </a:solidFill>
                <a:cs typeface="+mn-cs"/>
              </a:defRPr>
            </a:lvl1pPr>
          </a:lstStyle>
          <a:p>
            <a:pPr>
              <a:defRPr/>
            </a:pPr>
            <a:endParaRPr lang="de-DE">
              <a:solidFill>
                <a:srgbClr val="1C1C1C"/>
              </a:solidFill>
            </a:endParaRPr>
          </a:p>
        </p:txBody>
      </p:sp>
      <p:sp>
        <p:nvSpPr>
          <p:cNvPr id="18" name="Rectangle 1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858000" y="6248400"/>
            <a:ext cx="1905000" cy="457200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A3E1859A-948A-4906-9623-1F0C59607CC9}" type="slidenum">
              <a:rPr lang="de-DE">
                <a:solidFill>
                  <a:srgbClr val="1C1C1C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1C1C1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8726324"/>
      </p:ext>
    </p:extLst>
  </p:cSld>
  <p:clrMapOvr>
    <a:masterClrMapping/>
  </p:clrMapOvr>
  <p:transition>
    <p:strips dir="r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91FD62-6466-40FD-AB98-0A2BD0DD1706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3391862"/>
      </p:ext>
    </p:extLst>
  </p:cSld>
  <p:clrMapOvr>
    <a:masterClrMapping/>
  </p:clrMapOvr>
  <p:transition>
    <p:strips dir="r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209305-0356-444E-B9BB-65D3917CED6F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8469060"/>
      </p:ext>
    </p:extLst>
  </p:cSld>
  <p:clrMapOvr>
    <a:masterClrMapping/>
  </p:clrMapOvr>
  <p:transition>
    <p:strips dir="r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991FD62-6466-40FD-AB98-0A2BD0DD170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63350132"/>
      </p:ext>
    </p:extLst>
  </p:cSld>
  <p:clrMapOvr>
    <a:masterClrMapping/>
  </p:clrMapOvr>
  <p:transition>
    <p:strips dir="r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182688" y="2017713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145088" y="2017713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43CDA4-4052-4D68-BAA9-F2155A219112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9401089"/>
      </p:ext>
    </p:extLst>
  </p:cSld>
  <p:clrMapOvr>
    <a:masterClrMapping/>
  </p:clrMapOvr>
  <p:transition>
    <p:strips dir="r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8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2F7A06-7ECF-48E6-B007-4FDD1B397A6A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6030881"/>
      </p:ext>
    </p:extLst>
  </p:cSld>
  <p:clrMapOvr>
    <a:masterClrMapping/>
  </p:clrMapOvr>
  <p:transition>
    <p:strips dir="r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41DD31-796B-47D9-8FA7-8CE45BCCA82B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392227"/>
      </p:ext>
    </p:extLst>
  </p:cSld>
  <p:clrMapOvr>
    <a:masterClrMapping/>
  </p:clrMapOvr>
  <p:transition>
    <p:strips dir="r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21C71D-BAD9-49BE-8084-A955DB1DE496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641153"/>
      </p:ext>
    </p:extLst>
  </p:cSld>
  <p:clrMapOvr>
    <a:masterClrMapping/>
  </p:clrMapOvr>
  <p:transition>
    <p:strips dir="r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2E7824-A5DE-4641-A5A5-540578C75281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6086792"/>
      </p:ext>
    </p:extLst>
  </p:cSld>
  <p:clrMapOvr>
    <a:masterClrMapping/>
  </p:clrMapOvr>
  <p:transition>
    <p:strips dir="r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AACA94-AD89-4C3E-9883-4B0420F99F32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898073"/>
      </p:ext>
    </p:extLst>
  </p:cSld>
  <p:clrMapOvr>
    <a:masterClrMapping/>
  </p:clrMapOvr>
  <p:transition>
    <p:strips dir="rd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D63092-48EF-4E45-8250-21FEE65FDD0D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9521258"/>
      </p:ext>
    </p:extLst>
  </p:cSld>
  <p:clrMapOvr>
    <a:masterClrMapping/>
  </p:clrMapOvr>
  <p:transition>
    <p:strips dir="rd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7004050" y="617538"/>
            <a:ext cx="1951038" cy="551497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1150938" y="617538"/>
            <a:ext cx="5700712" cy="551497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AC3A6C-1CB3-4413-AEB1-038B81C8E24C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6546260"/>
      </p:ext>
    </p:extLst>
  </p:cSld>
  <p:clrMapOvr>
    <a:masterClrMapping/>
  </p:clrMapOvr>
  <p:transition>
    <p:strips dir="rd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260350"/>
            <a:ext cx="7924800" cy="6540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533400" y="1379538"/>
            <a:ext cx="8153400" cy="5073650"/>
          </a:xfrm>
        </p:spPr>
        <p:txBody>
          <a:bodyPr/>
          <a:lstStyle/>
          <a:p>
            <a:pPr lvl="0"/>
            <a:endParaRPr lang="de-DE" noProof="0"/>
          </a:p>
        </p:txBody>
      </p:sp>
    </p:spTree>
    <p:extLst>
      <p:ext uri="{BB962C8B-B14F-4D97-AF65-F5344CB8AC3E}">
        <p14:creationId xmlns:p14="http://schemas.microsoft.com/office/powerpoint/2010/main" val="97404304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56FBD9-2CC4-4306-8A1F-E92E7A26B4E2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5.08.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00758-78F9-4928-863C-2FBBD21F12C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02402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D209305-0356-444E-B9BB-65D3917CED6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90108910"/>
      </p:ext>
    </p:extLst>
  </p:cSld>
  <p:clrMapOvr>
    <a:masterClrMapping/>
  </p:clrMapOvr>
  <p:transition>
    <p:strips dir="r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56FBD9-2CC4-4306-8A1F-E92E7A26B4E2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5.08.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00758-78F9-4928-863C-2FBBD21F12C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50540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56FBD9-2CC4-4306-8A1F-E92E7A26B4E2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5.08.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00758-78F9-4928-863C-2FBBD21F12C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039447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56FBD9-2CC4-4306-8A1F-E92E7A26B4E2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5.08.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00758-78F9-4928-863C-2FBBD21F12C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08366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56FBD9-2CC4-4306-8A1F-E92E7A26B4E2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5.08.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00758-78F9-4928-863C-2FBBD21F12C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677964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56FBD9-2CC4-4306-8A1F-E92E7A26B4E2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5.08.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00758-78F9-4928-863C-2FBBD21F12C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64634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56FBD9-2CC4-4306-8A1F-E92E7A26B4E2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5.08.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00758-78F9-4928-863C-2FBBD21F12C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193436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56FBD9-2CC4-4306-8A1F-E92E7A26B4E2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5.08.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00758-78F9-4928-863C-2FBBD21F12C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320525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56FBD9-2CC4-4306-8A1F-E92E7A26B4E2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5.08.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00758-78F9-4928-863C-2FBBD21F12C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88948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56FBD9-2CC4-4306-8A1F-E92E7A26B4E2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5.08.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00758-78F9-4928-863C-2FBBD21F12C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20540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56FBD9-2CC4-4306-8A1F-E92E7A26B4E2}" type="datetimeFigureOut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25.08.2015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00758-78F9-4928-863C-2FBBD21F12CE}" type="slidenum">
              <a:rPr lang="de-DE" smtClean="0">
                <a:solidFill>
                  <a:prstClr val="black">
                    <a:tint val="75000"/>
                  </a:prstClr>
                </a:solidFill>
              </a:rPr>
              <a:pPr/>
              <a:t>‹Nr.›</a:t>
            </a:fld>
            <a:endParaRPr lang="de-DE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4492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182688" y="2017713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145088" y="2017713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43CDA4-4052-4D68-BAA9-F2155A21911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61275642"/>
      </p:ext>
    </p:extLst>
  </p:cSld>
  <p:clrMapOvr>
    <a:masterClrMapping/>
  </p:clrMapOvr>
  <p:transition>
    <p:strips dir="r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7" name="Picture 3" descr="X:\Mobilität.sharepoint\20_Input\Sharepoint-Country-Board-Initiative\01_Organization\Key Visuals\Mobility-KeyVisual-agenda-131212-040-01.png"/>
          <p:cNvPicPr>
            <a:picLocks noChangeAspect="1" noChangeArrowheads="1"/>
          </p:cNvPicPr>
          <p:nvPr userDrawn="1"/>
        </p:nvPicPr>
        <p:blipFill>
          <a:blip r:embed="rId6" cstate="print"/>
          <a:srcRect l="7203"/>
          <a:stretch>
            <a:fillRect/>
          </a:stretch>
        </p:blipFill>
        <p:spPr bwMode="auto">
          <a:xfrm>
            <a:off x="0" y="-27480"/>
            <a:ext cx="9158483" cy="6911976"/>
          </a:xfrm>
          <a:prstGeom prst="rect">
            <a:avLst/>
          </a:prstGeom>
          <a:noFill/>
        </p:spPr>
      </p:pic>
      <p:sp>
        <p:nvSpPr>
          <p:cNvPr id="18" name="Rectangle 17"/>
          <p:cNvSpPr/>
          <p:nvPr userDrawn="1"/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en-US" sz="1300" b="0" dirty="0">
              <a:solidFill>
                <a:prstClr val="white"/>
              </a:solidFill>
            </a:endParaRPr>
          </a:p>
        </p:txBody>
      </p:sp>
      <p:sp>
        <p:nvSpPr>
          <p:cNvPr id="17" name="Rectangle 7"/>
          <p:cNvSpPr/>
          <p:nvPr userDrawn="1"/>
        </p:nvSpPr>
        <p:spPr bwMode="auto">
          <a:xfrm>
            <a:off x="-1895" y="1"/>
            <a:ext cx="9145895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en-US" sz="1000" b="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pic>
        <p:nvPicPr>
          <p:cNvPr id="10" name="Picture 104"/>
          <p:cNvPicPr>
            <a:picLocks noChangeAspect="1" noChangeArrowheads="1"/>
          </p:cNvPicPr>
          <p:nvPr userDrawn="1"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6064418" y="6520695"/>
            <a:ext cx="2770546" cy="239021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0" y="2256613"/>
            <a:ext cx="4191400" cy="2261632"/>
          </a:xfrm>
        </p:spPr>
        <p:txBody>
          <a:bodyPr lIns="231412" tIns="33059" rIns="33059" bIns="33059"/>
          <a:lstStyle>
            <a:lvl1pPr algn="l">
              <a:defRPr sz="3300" b="0">
                <a:solidFill>
                  <a:schemeClr val="tx1"/>
                </a:solidFill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4551798"/>
            <a:ext cx="4191905" cy="947750"/>
          </a:xfrm>
          <a:prstGeom prst="rect">
            <a:avLst/>
          </a:prstGeom>
        </p:spPr>
        <p:txBody>
          <a:bodyPr lIns="231412" tIns="33059" rIns="33059" bIns="33059"/>
          <a:lstStyle>
            <a:lvl1pPr marL="0" indent="0" algn="l">
              <a:buNone/>
              <a:defRPr sz="2200" b="0">
                <a:solidFill>
                  <a:schemeClr val="tx1"/>
                </a:solidFill>
              </a:defRPr>
            </a:lvl1pPr>
            <a:lvl2pPr marL="4571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8" cstate="print"/>
          <a:stretch>
            <a:fillRect/>
          </a:stretch>
        </p:blipFill>
        <p:spPr>
          <a:xfrm>
            <a:off x="661138" y="653033"/>
            <a:ext cx="2771824" cy="694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5885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 noChangeAspect="1"/>
          </p:cNvPicPr>
          <p:nvPr userDrawn="1"/>
        </p:nvPicPr>
        <p:blipFill>
          <a:blip r:embed="rId10" cstate="print"/>
          <a:srcRect l="240" t="179" r="380" b="511"/>
          <a:stretch>
            <a:fillRect/>
          </a:stretch>
        </p:blipFill>
        <p:spPr>
          <a:xfrm>
            <a:off x="0" y="1050622"/>
            <a:ext cx="9144000" cy="580737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145310" y="1968817"/>
            <a:ext cx="4998690" cy="2414915"/>
          </a:xfrm>
        </p:spPr>
        <p:txBody>
          <a:bodyPr vert="horz" lIns="36000" tIns="36000" rIns="360000" bIns="36000" rtlCol="0" anchor="ctr">
            <a:noAutofit/>
          </a:bodyPr>
          <a:lstStyle>
            <a:lvl1pPr algn="r" defTabSz="995690" rtl="0" eaLnBrk="1" latinLnBrk="0" hangingPunct="1">
              <a:spcBef>
                <a:spcPct val="0"/>
              </a:spcBef>
              <a:buNone/>
              <a:defRPr lang="en-US" sz="3600" b="0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itle</a:t>
            </a:r>
            <a:r>
              <a:rPr lang="fr-FR" dirty="0" smtClean="0"/>
              <a:t> style</a:t>
            </a:r>
            <a:endParaRPr lang="en-US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>
          <a:xfrm>
            <a:off x="4926419" y="4609876"/>
            <a:ext cx="4217582" cy="1806302"/>
          </a:xfrm>
          <a:prstGeom prst="rect">
            <a:avLst/>
          </a:prstGeom>
        </p:spPr>
        <p:txBody>
          <a:bodyPr vert="horz" lIns="36000" tIns="36000" rIns="360000" bIns="36000" rtlCol="0">
            <a:noAutofit/>
          </a:bodyPr>
          <a:lstStyle>
            <a:lvl1pPr marL="0" indent="0" algn="r" defTabSz="995690" rtl="0" eaLnBrk="1" latinLnBrk="0" hangingPunct="1">
              <a:spcBef>
                <a:spcPts val="0"/>
              </a:spcBef>
              <a:buFontTx/>
              <a:buNone/>
              <a:defRPr lang="fr-FR" sz="2400" b="0" kern="1200" baseline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21" name="Rectangle 7"/>
          <p:cNvSpPr/>
          <p:nvPr userDrawn="1">
            <p:custDataLst>
              <p:tags r:id="rId5"/>
            </p:custDataLst>
          </p:nvPr>
        </p:nvSpPr>
        <p:spPr bwMode="auto">
          <a:xfrm>
            <a:off x="-1895" y="1"/>
            <a:ext cx="9145895" cy="2683033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562072" h="2958168">
                <a:moveTo>
                  <a:pt x="1331" y="2791"/>
                </a:moveTo>
                <a:lnTo>
                  <a:pt x="10561655" y="0"/>
                </a:lnTo>
                <a:cubicBezTo>
                  <a:pt x="10562168" y="67600"/>
                  <a:pt x="10562411" y="1432923"/>
                  <a:pt x="10561157" y="1476338"/>
                </a:cubicBezTo>
                <a:cubicBezTo>
                  <a:pt x="10083761" y="2148347"/>
                  <a:pt x="9705180" y="2158423"/>
                  <a:pt x="9288594" y="2153103"/>
                </a:cubicBezTo>
                <a:lnTo>
                  <a:pt x="2317558" y="2159512"/>
                </a:lnTo>
                <a:cubicBezTo>
                  <a:pt x="1740344" y="2192654"/>
                  <a:pt x="1372498" y="2495346"/>
                  <a:pt x="1180889" y="2958168"/>
                </a:cubicBezTo>
                <a:cubicBezTo>
                  <a:pt x="882535" y="2254391"/>
                  <a:pt x="278640" y="2173187"/>
                  <a:pt x="0" y="2174065"/>
                </a:cubicBezTo>
                <a:cubicBezTo>
                  <a:pt x="2067" y="2138552"/>
                  <a:pt x="2603" y="98373"/>
                  <a:pt x="1331" y="2791"/>
                </a:cubicBezTo>
                <a:close/>
              </a:path>
            </a:pathLst>
          </a:custGeom>
          <a:solidFill>
            <a:schemeClr val="bg1"/>
          </a:soli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en-US" sz="1000" b="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23" name="Rectangle 22"/>
          <p:cNvSpPr/>
          <p:nvPr userDrawn="1">
            <p:custDataLst>
              <p:tags r:id="rId6"/>
            </p:custDataLst>
          </p:nvPr>
        </p:nvSpPr>
        <p:spPr>
          <a:xfrm>
            <a:off x="0" y="6400876"/>
            <a:ext cx="9144000" cy="4571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3969" tIns="41985" rIns="83969" bIns="41985"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en-US" sz="1300" b="0" dirty="0">
              <a:solidFill>
                <a:prstClr val="white"/>
              </a:solidFill>
            </a:endParaRPr>
          </a:p>
        </p:txBody>
      </p:sp>
      <p:pic>
        <p:nvPicPr>
          <p:cNvPr id="24" name="Picture 104" descr="C:\Users\UserSim\Desktop\Capgemini\moto.emf"/>
          <p:cNvPicPr>
            <a:picLocks noChangeAspect="1" noChangeArrowheads="1"/>
          </p:cNvPicPr>
          <p:nvPr userDrawn="1">
            <p:custDataLst>
              <p:tags r:id="rId7"/>
            </p:custDataLst>
          </p:nvPr>
        </p:nvPicPr>
        <p:blipFill>
          <a:blip r:embed="rId13" cstate="email"/>
          <a:srcRect/>
          <a:stretch>
            <a:fillRect/>
          </a:stretch>
        </p:blipFill>
        <p:spPr bwMode="auto">
          <a:xfrm>
            <a:off x="6064418" y="6520695"/>
            <a:ext cx="2770546" cy="239021"/>
          </a:xfrm>
          <a:prstGeom prst="rect">
            <a:avLst/>
          </a:prstGeom>
          <a:noFill/>
        </p:spPr>
      </p:pic>
      <p:pic>
        <p:nvPicPr>
          <p:cNvPr id="11" name="Picture 10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4" cstate="print"/>
          <a:stretch>
            <a:fillRect/>
          </a:stretch>
        </p:blipFill>
        <p:spPr>
          <a:xfrm>
            <a:off x="661138" y="653033"/>
            <a:ext cx="2771824" cy="694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7984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-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5" cstate="print"/>
          <a:srcRect l="120" t="188" r="380" b="564"/>
          <a:stretch>
            <a:fillRect/>
          </a:stretch>
        </p:blipFill>
        <p:spPr>
          <a:xfrm>
            <a:off x="0" y="0"/>
            <a:ext cx="9144000" cy="6353298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</a:pPr>
            <a:endParaRPr lang="fr-FR" sz="1900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4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r.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t>User Stories Funktionsblöcke Mobilität.pptx</a:t>
            </a:r>
          </a:p>
        </p:txBody>
      </p:sp>
    </p:spTree>
    <p:extLst>
      <p:ext uri="{BB962C8B-B14F-4D97-AF65-F5344CB8AC3E}">
        <p14:creationId xmlns:p14="http://schemas.microsoft.com/office/powerpoint/2010/main" val="16389564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tou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5" cstate="print"/>
          <a:srcRect l="296" t="407" r="481" b="474"/>
          <a:stretch>
            <a:fillRect/>
          </a:stretch>
        </p:blipFill>
        <p:spPr>
          <a:xfrm>
            <a:off x="0" y="1"/>
            <a:ext cx="9144000" cy="6353297"/>
          </a:xfrm>
          <a:prstGeom prst="rect">
            <a:avLst/>
          </a:prstGeom>
          <a:ln>
            <a:noFill/>
          </a:ln>
        </p:spPr>
      </p:pic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9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reeform 4"/>
          <p:cNvSpPr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</a:pPr>
            <a:endParaRPr lang="fr-FR" sz="1900" b="0" dirty="0">
              <a:solidFill>
                <a:srgbClr val="000000"/>
              </a:solidFill>
              <a:latin typeface="Arial"/>
              <a:cs typeface="+mn-cs"/>
            </a:endParaRP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4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r.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t>User Stories Funktionsblöcke Mobilität.pptx</a:t>
            </a:r>
          </a:p>
        </p:txBody>
      </p:sp>
    </p:spTree>
    <p:extLst>
      <p:ext uri="{BB962C8B-B14F-4D97-AF65-F5344CB8AC3E}">
        <p14:creationId xmlns:p14="http://schemas.microsoft.com/office/powerpoint/2010/main" val="177803558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 of Content-Agenda no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4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3" name="Slide Number Placeholder 1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r.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4" name="Footer Placeholder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t>User Stories Funktionsblöcke Mobilität.pptx</a:t>
            </a:r>
          </a:p>
        </p:txBody>
      </p:sp>
    </p:spTree>
    <p:extLst>
      <p:ext uri="{BB962C8B-B14F-4D97-AF65-F5344CB8AC3E}">
        <p14:creationId xmlns:p14="http://schemas.microsoft.com/office/powerpoint/2010/main" val="10897871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4. All Rights Reserved</a:t>
            </a:r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r.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t>User Stories Funktionsblöcke Mobilität.pptx</a:t>
            </a:r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252046" y="1501978"/>
            <a:ext cx="8639908" cy="4636539"/>
          </a:xfrm>
        </p:spPr>
        <p:txBody>
          <a:bodyPr/>
          <a:lstStyle>
            <a:lvl2pPr marL="180975" indent="-180975">
              <a:defRPr/>
            </a:lvl2pPr>
            <a:lvl3pPr marL="361950" indent="-177800">
              <a:tabLst/>
              <a:defRPr/>
            </a:lvl3pPr>
            <a:lvl4pPr marL="542925" indent="-180975">
              <a:defRPr/>
            </a:lvl4pPr>
            <a:lvl5pPr marL="714375" indent="-171450" defTabSz="804863">
              <a:defRPr/>
            </a:lvl5pPr>
            <a:lvl6pPr marL="896938" indent="-179388">
              <a:tabLst/>
              <a:defRPr/>
            </a:lvl6pPr>
            <a:lvl7pPr marL="1079500" indent="-180975">
              <a:tabLst/>
              <a:defRPr/>
            </a:lvl7pPr>
            <a:lvl8pPr marL="1255713" indent="-176213">
              <a:buFont typeface="Symbol" pitchFamily="18" charset="2"/>
              <a:buChar char="-"/>
              <a:defRPr/>
            </a:lvl8pPr>
            <a:lvl9pPr marL="1431925" indent="-174625"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30726595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ent_Subtitle_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6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2046" y="1412721"/>
            <a:ext cx="8639908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4. All Rights Reserved</a:t>
            </a:r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r.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t>User Stories Funktionsblöcke Mobilität.pptx</a:t>
            </a:r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5"/>
          </p:nvPr>
        </p:nvSpPr>
        <p:spPr>
          <a:xfrm>
            <a:off x="252046" y="1772771"/>
            <a:ext cx="8639908" cy="4464620"/>
          </a:xfrm>
        </p:spPr>
        <p:txBody>
          <a:bodyPr/>
          <a:lstStyle>
            <a:lvl4pPr marL="542925" indent="-180975">
              <a:defRPr/>
            </a:lvl4pPr>
            <a:lvl5pPr marL="714375" indent="-171450"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1144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ading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2046" y="1412721"/>
            <a:ext cx="8639908" cy="288413"/>
          </a:xfrm>
          <a:prstGeom prst="rect">
            <a:avLst/>
          </a:prstGeom>
        </p:spPr>
        <p:txBody>
          <a:bodyPr>
            <a:spAutoFit/>
          </a:bodyPr>
          <a:lstStyle>
            <a:lvl1pPr marL="0" indent="0">
              <a:buNone/>
              <a:defRPr lang="fr-FR" sz="1400" b="1" i="1" kern="1200" dirty="0" smtClean="0">
                <a:solidFill>
                  <a:schemeClr val="accent5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 smtClean="0"/>
              <a:t>Click to </a:t>
            </a:r>
            <a:r>
              <a:rPr lang="fr-FR" dirty="0" err="1" smtClean="0"/>
              <a:t>edit</a:t>
            </a:r>
            <a:r>
              <a:rPr lang="fr-FR" dirty="0" smtClean="0"/>
              <a:t> Master </a:t>
            </a:r>
            <a:r>
              <a:rPr lang="fr-FR" dirty="0" err="1" smtClean="0"/>
              <a:t>text</a:t>
            </a:r>
            <a:r>
              <a:rPr lang="fr-FR" dirty="0" smtClean="0"/>
              <a:t> style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4. All Rights Reserved</a:t>
            </a:r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0BADDE-CEDF-4108-ADCD-25C7E5D681A5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r.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t>User Stories Funktionsblöcke Mobilität.pptx</a:t>
            </a:r>
          </a:p>
        </p:txBody>
      </p:sp>
    </p:spTree>
    <p:extLst>
      <p:ext uri="{BB962C8B-B14F-4D97-AF65-F5344CB8AC3E}">
        <p14:creationId xmlns:p14="http://schemas.microsoft.com/office/powerpoint/2010/main" val="733689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4. All Rights Reserved</a:t>
            </a:r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r.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t>User Stories Funktionsblöcke Mobilität.pptx</a:t>
            </a:r>
          </a:p>
        </p:txBody>
      </p:sp>
    </p:spTree>
    <p:extLst>
      <p:ext uri="{BB962C8B-B14F-4D97-AF65-F5344CB8AC3E}">
        <p14:creationId xmlns:p14="http://schemas.microsoft.com/office/powerpoint/2010/main" val="41280722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1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52945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2F7A06-7ECF-48E6-B007-4FDD1B397A6A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02421201"/>
      </p:ext>
    </p:extLst>
  </p:cSld>
  <p:clrMapOvr>
    <a:masterClrMapping/>
  </p:clrMapOvr>
  <p:transition>
    <p:strips dir="r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995445" eaLnBrk="0" hangingPunct="0">
              <a:lnSpc>
                <a:spcPct val="90000"/>
              </a:lnSpc>
              <a:spcBef>
                <a:spcPct val="10000"/>
              </a:spcBef>
              <a:defRPr/>
            </a:pPr>
            <a:r>
              <a:rPr lang="en-US"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4. All Rights Reserved</a:t>
            </a:r>
            <a:endParaRPr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0BADDE-CEDF-4108-ADCD-25C7E5D681A5}" type="slidenum"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pPr/>
              <a:t>‹Nr.›</a:t>
            </a:fld>
            <a:endParaRPr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t>User Stories Funktionsblöcke Mobilität.pptx</a:t>
            </a:r>
          </a:p>
        </p:txBody>
      </p:sp>
    </p:spTree>
    <p:extLst>
      <p:ext uri="{BB962C8B-B14F-4D97-AF65-F5344CB8AC3E}">
        <p14:creationId xmlns:p14="http://schemas.microsoft.com/office/powerpoint/2010/main" val="3724347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41DD31-796B-47D9-8FA7-8CE45BCCA82B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85214038"/>
      </p:ext>
    </p:extLst>
  </p:cSld>
  <p:clrMapOvr>
    <a:masterClrMapping/>
  </p:clrMapOvr>
  <p:transition>
    <p:strips dir="rd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21C71D-BAD9-49BE-8084-A955DB1DE49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42732533"/>
      </p:ext>
    </p:extLst>
  </p:cSld>
  <p:clrMapOvr>
    <a:masterClrMapping/>
  </p:clrMapOvr>
  <p:transition>
    <p:strips dir="rd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52E7824-A5DE-4641-A5A5-540578C7528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7116007"/>
      </p:ext>
    </p:extLst>
  </p:cSld>
  <p:clrMapOvr>
    <a:masterClrMapping/>
  </p:clrMapOvr>
  <p:transition>
    <p:strips dir="r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de-DE" noProof="0" smtClean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e durch Klicken bearbeiten</a:t>
            </a:r>
          </a:p>
        </p:txBody>
      </p:sp>
      <p:sp>
        <p:nvSpPr>
          <p:cNvPr id="5" name="Rectangle 11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13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0AACA94-AD89-4C3E-9883-4B0420F99F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15087612"/>
      </p:ext>
    </p:extLst>
  </p:cSld>
  <p:clrMapOvr>
    <a:masterClrMapping/>
  </p:clrMapOvr>
  <p:transition>
    <p:strips dir="r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w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image" Target="../media/image2.emf"/><Relationship Id="rId26" Type="http://schemas.openxmlformats.org/officeDocument/2006/relationships/hyperlink" Target="http://www.youtube.com/capgemini" TargetMode="External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4.png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oleObject" Target="../embeddings/oleObject1.bin"/><Relationship Id="rId25" Type="http://schemas.openxmlformats.org/officeDocument/2006/relationships/image" Target="../media/image6.png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9.xml"/><Relationship Id="rId20" Type="http://schemas.openxmlformats.org/officeDocument/2006/relationships/hyperlink" Target="http://www.facebook.com/Capgemini" TargetMode="External"/><Relationship Id="rId29" Type="http://schemas.openxmlformats.org/officeDocument/2006/relationships/image" Target="../media/image8.gif"/><Relationship Id="rId1" Type="http://schemas.openxmlformats.org/officeDocument/2006/relationships/slideLayout" Target="../slideLayouts/slideLayout12.xml"/><Relationship Id="rId6" Type="http://schemas.openxmlformats.org/officeDocument/2006/relationships/theme" Target="../theme/theme2.xml"/><Relationship Id="rId11" Type="http://schemas.openxmlformats.org/officeDocument/2006/relationships/tags" Target="../tags/tag4.xml"/><Relationship Id="rId24" Type="http://schemas.openxmlformats.org/officeDocument/2006/relationships/hyperlink" Target="http://www.twitter.com/capgemini" TargetMode="Externa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8.xml"/><Relationship Id="rId23" Type="http://schemas.openxmlformats.org/officeDocument/2006/relationships/image" Target="../media/image5.png"/><Relationship Id="rId28" Type="http://schemas.openxmlformats.org/officeDocument/2006/relationships/hyperlink" Target="http://www.slideshare.net/capgemini" TargetMode="External"/><Relationship Id="rId10" Type="http://schemas.openxmlformats.org/officeDocument/2006/relationships/tags" Target="../tags/tag3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hyperlink" Target="http://www.linkedin.com/company/capgemini" TargetMode="External"/><Relationship Id="rId27" Type="http://schemas.openxmlformats.org/officeDocument/2006/relationships/image" Target="../media/image7.png"/><Relationship Id="rId30" Type="http://schemas.openxmlformats.org/officeDocument/2006/relationships/image" Target="../media/image9.gi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image" Target="../media/image1.w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vmlDrawing" Target="../drawings/vmlDrawing7.v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5.xml"/><Relationship Id="rId17" Type="http://schemas.openxmlformats.org/officeDocument/2006/relationships/image" Target="../media/image9.gif"/><Relationship Id="rId2" Type="http://schemas.openxmlformats.org/officeDocument/2006/relationships/slideLayout" Target="../slideLayouts/slideLayout41.xml"/><Relationship Id="rId16" Type="http://schemas.openxmlformats.org/officeDocument/2006/relationships/image" Target="../media/image2.emf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5" Type="http://schemas.openxmlformats.org/officeDocument/2006/relationships/oleObject" Target="../embeddings/oleObject7.bin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tags" Target="../tags/tag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7" descr="husiegel_bw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4325" y="260350"/>
            <a:ext cx="968375" cy="97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ChangeArrowheads="1"/>
          </p:cNvSpPr>
          <p:nvPr/>
        </p:nvSpPr>
        <p:spPr bwMode="ltGray">
          <a:xfrm>
            <a:off x="417513" y="1098550"/>
            <a:ext cx="438150" cy="47466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cs typeface="+mn-cs"/>
            </a:endParaRPr>
          </a:p>
        </p:txBody>
      </p:sp>
      <p:sp>
        <p:nvSpPr>
          <p:cNvPr id="5123" name="Rectangle 3"/>
          <p:cNvSpPr>
            <a:spLocks noChangeArrowheads="1"/>
          </p:cNvSpPr>
          <p:nvPr/>
        </p:nvSpPr>
        <p:spPr bwMode="ltGray">
          <a:xfrm>
            <a:off x="800100" y="1098550"/>
            <a:ext cx="328613" cy="474663"/>
          </a:xfrm>
          <a:prstGeom prst="rect">
            <a:avLst/>
          </a:pr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cs typeface="+mn-cs"/>
            </a:endParaRPr>
          </a:p>
        </p:txBody>
      </p:sp>
      <p:sp>
        <p:nvSpPr>
          <p:cNvPr id="5124" name="Rectangle 4"/>
          <p:cNvSpPr>
            <a:spLocks noChangeArrowheads="1"/>
          </p:cNvSpPr>
          <p:nvPr/>
        </p:nvSpPr>
        <p:spPr bwMode="ltGray">
          <a:xfrm>
            <a:off x="541338" y="1520825"/>
            <a:ext cx="422275" cy="474663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cs typeface="+mn-cs"/>
            </a:endParaRPr>
          </a:p>
        </p:txBody>
      </p:sp>
      <p:sp>
        <p:nvSpPr>
          <p:cNvPr id="5125" name="Rectangle 5"/>
          <p:cNvSpPr>
            <a:spLocks noChangeArrowheads="1"/>
          </p:cNvSpPr>
          <p:nvPr/>
        </p:nvSpPr>
        <p:spPr bwMode="ltGray">
          <a:xfrm>
            <a:off x="911225" y="1520825"/>
            <a:ext cx="368300" cy="474663"/>
          </a:xfrm>
          <a:prstGeom prst="rect">
            <a:avLst/>
          </a:prstGeom>
          <a:gradFill rotWithShape="0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cs typeface="+mn-cs"/>
            </a:endParaRPr>
          </a:p>
        </p:txBody>
      </p:sp>
      <p:sp>
        <p:nvSpPr>
          <p:cNvPr id="5126" name="Rectangle 6"/>
          <p:cNvSpPr>
            <a:spLocks noChangeArrowheads="1"/>
          </p:cNvSpPr>
          <p:nvPr/>
        </p:nvSpPr>
        <p:spPr bwMode="ltGray">
          <a:xfrm>
            <a:off x="127000" y="1447800"/>
            <a:ext cx="560388" cy="422275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hlink"/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cs typeface="+mn-cs"/>
            </a:endParaRPr>
          </a:p>
        </p:txBody>
      </p:sp>
      <p:sp>
        <p:nvSpPr>
          <p:cNvPr id="5127" name="Rectangle 7"/>
          <p:cNvSpPr>
            <a:spLocks noChangeArrowheads="1"/>
          </p:cNvSpPr>
          <p:nvPr/>
        </p:nvSpPr>
        <p:spPr bwMode="gray">
          <a:xfrm>
            <a:off x="762000" y="990600"/>
            <a:ext cx="31750" cy="1052513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cs typeface="+mn-cs"/>
            </a:endParaRPr>
          </a:p>
        </p:txBody>
      </p:sp>
      <p:sp>
        <p:nvSpPr>
          <p:cNvPr id="5128" name="Rectangle 8"/>
          <p:cNvSpPr>
            <a:spLocks noChangeArrowheads="1"/>
          </p:cNvSpPr>
          <p:nvPr/>
        </p:nvSpPr>
        <p:spPr bwMode="gray">
          <a:xfrm>
            <a:off x="442913" y="1781175"/>
            <a:ext cx="8226425" cy="31750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cs typeface="+mn-cs"/>
            </a:endParaRPr>
          </a:p>
        </p:txBody>
      </p:sp>
      <p:sp>
        <p:nvSpPr>
          <p:cNvPr id="2058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1150938" y="617538"/>
            <a:ext cx="7793037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as Titelformat zu bearbeiten</a:t>
            </a:r>
          </a:p>
        </p:txBody>
      </p:sp>
      <p:sp>
        <p:nvSpPr>
          <p:cNvPr id="2059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82688" y="2017713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ie Formate des Vorlagentextes zu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5131" name="Rectangle 1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553200"/>
            <a:ext cx="4876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1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553200"/>
            <a:ext cx="1905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400" b="0">
                <a:cs typeface="+mn-cs"/>
              </a:defRPr>
            </a:lvl1pPr>
          </a:lstStyle>
          <a:p>
            <a:pPr>
              <a:defRPr/>
            </a:pPr>
            <a:fld id="{605D038A-4EDF-46EB-892A-49831A64BE4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135" name="Rectangle 15"/>
          <p:cNvSpPr>
            <a:spLocks noChangeArrowheads="1"/>
          </p:cNvSpPr>
          <p:nvPr userDrawn="1"/>
        </p:nvSpPr>
        <p:spPr bwMode="gray">
          <a:xfrm>
            <a:off x="442913" y="6400800"/>
            <a:ext cx="8226425" cy="31750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bg2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06" r:id="rId2"/>
    <p:sldLayoutId id="2147483907" r:id="rId3"/>
    <p:sldLayoutId id="2147483908" r:id="rId4"/>
    <p:sldLayoutId id="2147483909" r:id="rId5"/>
    <p:sldLayoutId id="2147483910" r:id="rId6"/>
    <p:sldLayoutId id="2147483911" r:id="rId7"/>
    <p:sldLayoutId id="2147483912" r:id="rId8"/>
    <p:sldLayoutId id="2147483913" r:id="rId9"/>
    <p:sldLayoutId id="2147483914" r:id="rId10"/>
    <p:sldLayoutId id="2147483915" r:id="rId11"/>
  </p:sldLayoutIdLst>
  <p:transition>
    <p:strips dir="rd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itchFamily="2" charset="2"/>
        <a:buChar char="n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50000"/>
        <a:buFont typeface="Wingdings" pitchFamily="2" charset="2"/>
        <a:buChar char="n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55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7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7" name="Rectangle 7"/>
          <p:cNvSpPr/>
          <p:nvPr>
            <p:custDataLst>
              <p:tags r:id="rId9"/>
            </p:custDataLst>
          </p:nvPr>
        </p:nvSpPr>
        <p:spPr bwMode="auto">
          <a:xfrm flipV="1">
            <a:off x="-1529" y="1677994"/>
            <a:ext cx="9145530" cy="5180006"/>
          </a:xfrm>
          <a:custGeom>
            <a:avLst/>
            <a:gdLst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0 w 10685085"/>
              <a:gd name="connsiteY3" fmla="*/ 684481 h 684481"/>
              <a:gd name="connsiteX4" fmla="*/ 0 w 10685085"/>
              <a:gd name="connsiteY4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525849 w 10685085"/>
              <a:gd name="connsiteY3" fmla="*/ 678410 h 684481"/>
              <a:gd name="connsiteX4" fmla="*/ 0 w 10685085"/>
              <a:gd name="connsiteY4" fmla="*/ 684481 h 684481"/>
              <a:gd name="connsiteX5" fmla="*/ 0 w 10685085"/>
              <a:gd name="connsiteY5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684481"/>
              <a:gd name="connsiteX1" fmla="*/ 10685085 w 10685085"/>
              <a:gd name="connsiteY1" fmla="*/ 0 h 684481"/>
              <a:gd name="connsiteX2" fmla="*/ 10685085 w 10685085"/>
              <a:gd name="connsiteY2" fmla="*/ 684481 h 684481"/>
              <a:gd name="connsiteX3" fmla="*/ 1063736 w 10685085"/>
              <a:gd name="connsiteY3" fmla="*/ 670939 h 684481"/>
              <a:gd name="connsiteX4" fmla="*/ 525849 w 10685085"/>
              <a:gd name="connsiteY4" fmla="*/ 678410 h 684481"/>
              <a:gd name="connsiteX5" fmla="*/ 0 w 10685085"/>
              <a:gd name="connsiteY5" fmla="*/ 684481 h 684481"/>
              <a:gd name="connsiteX6" fmla="*/ 0 w 10685085"/>
              <a:gd name="connsiteY6" fmla="*/ 0 h 684481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63736 w 10685085"/>
              <a:gd name="connsiteY3" fmla="*/ 670939 h 1022049"/>
              <a:gd name="connsiteX4" fmla="*/ 533320 w 10685085"/>
              <a:gd name="connsiteY4" fmla="*/ 1022049 h 1022049"/>
              <a:gd name="connsiteX5" fmla="*/ 0 w 10685085"/>
              <a:gd name="connsiteY5" fmla="*/ 684481 h 1022049"/>
              <a:gd name="connsiteX6" fmla="*/ 0 w 10685085"/>
              <a:gd name="connsiteY6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68448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063736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0 w 10685085"/>
              <a:gd name="connsiteY6" fmla="*/ 684481 h 1022049"/>
              <a:gd name="connsiteX7" fmla="*/ 0 w 10685085"/>
              <a:gd name="connsiteY7" fmla="*/ 0 h 1022049"/>
              <a:gd name="connsiteX0" fmla="*/ 0 w 10685085"/>
              <a:gd name="connsiteY0" fmla="*/ 0 h 1022049"/>
              <a:gd name="connsiteX1" fmla="*/ 10685085 w 10685085"/>
              <a:gd name="connsiteY1" fmla="*/ 0 h 1022049"/>
              <a:gd name="connsiteX2" fmla="*/ 10685085 w 10685085"/>
              <a:gd name="connsiteY2" fmla="*/ 303491 h 1022049"/>
              <a:gd name="connsiteX3" fmla="*/ 10222758 w 10685085"/>
              <a:gd name="connsiteY3" fmla="*/ 678410 h 1022049"/>
              <a:gd name="connsiteX4" fmla="*/ 1157465 w 10685085"/>
              <a:gd name="connsiteY4" fmla="*/ 670939 h 1022049"/>
              <a:gd name="connsiteX5" fmla="*/ 533320 w 10685085"/>
              <a:gd name="connsiteY5" fmla="*/ 1022049 h 1022049"/>
              <a:gd name="connsiteX6" fmla="*/ 23183 w 10685085"/>
              <a:gd name="connsiteY6" fmla="*/ 684481 h 1022049"/>
              <a:gd name="connsiteX7" fmla="*/ 0 w 10685085"/>
              <a:gd name="connsiteY7" fmla="*/ 0 h 1022049"/>
              <a:gd name="connsiteX0" fmla="*/ 0 w 10673494"/>
              <a:gd name="connsiteY0" fmla="*/ 5825 h 1022049"/>
              <a:gd name="connsiteX1" fmla="*/ 10673494 w 10673494"/>
              <a:gd name="connsiteY1" fmla="*/ 0 h 1022049"/>
              <a:gd name="connsiteX2" fmla="*/ 10673494 w 10673494"/>
              <a:gd name="connsiteY2" fmla="*/ 303491 h 1022049"/>
              <a:gd name="connsiteX3" fmla="*/ 10211167 w 10673494"/>
              <a:gd name="connsiteY3" fmla="*/ 678410 h 1022049"/>
              <a:gd name="connsiteX4" fmla="*/ 1145874 w 10673494"/>
              <a:gd name="connsiteY4" fmla="*/ 670939 h 1022049"/>
              <a:gd name="connsiteX5" fmla="*/ 521729 w 10673494"/>
              <a:gd name="connsiteY5" fmla="*/ 1022049 h 1022049"/>
              <a:gd name="connsiteX6" fmla="*/ 11592 w 10673494"/>
              <a:gd name="connsiteY6" fmla="*/ 684481 h 1022049"/>
              <a:gd name="connsiteX7" fmla="*/ 0 w 10673494"/>
              <a:gd name="connsiteY7" fmla="*/ 5825 h 1022049"/>
              <a:gd name="connsiteX0" fmla="*/ 0 w 10673494"/>
              <a:gd name="connsiteY0" fmla="*/ 0 h 1045351"/>
              <a:gd name="connsiteX1" fmla="*/ 10673494 w 10673494"/>
              <a:gd name="connsiteY1" fmla="*/ 23302 h 1045351"/>
              <a:gd name="connsiteX2" fmla="*/ 10673494 w 10673494"/>
              <a:gd name="connsiteY2" fmla="*/ 326793 h 1045351"/>
              <a:gd name="connsiteX3" fmla="*/ 10211167 w 10673494"/>
              <a:gd name="connsiteY3" fmla="*/ 701712 h 1045351"/>
              <a:gd name="connsiteX4" fmla="*/ 1145874 w 10673494"/>
              <a:gd name="connsiteY4" fmla="*/ 694241 h 1045351"/>
              <a:gd name="connsiteX5" fmla="*/ 521729 w 10673494"/>
              <a:gd name="connsiteY5" fmla="*/ 1045351 h 1045351"/>
              <a:gd name="connsiteX6" fmla="*/ 11592 w 10673494"/>
              <a:gd name="connsiteY6" fmla="*/ 707783 h 1045351"/>
              <a:gd name="connsiteX7" fmla="*/ 0 w 10673494"/>
              <a:gd name="connsiteY7" fmla="*/ 0 h 1045351"/>
              <a:gd name="connsiteX0" fmla="*/ 0 w 10667698"/>
              <a:gd name="connsiteY0" fmla="*/ 0 h 1027875"/>
              <a:gd name="connsiteX1" fmla="*/ 10667698 w 10667698"/>
              <a:gd name="connsiteY1" fmla="*/ 5826 h 1027875"/>
              <a:gd name="connsiteX2" fmla="*/ 10667698 w 10667698"/>
              <a:gd name="connsiteY2" fmla="*/ 309317 h 1027875"/>
              <a:gd name="connsiteX3" fmla="*/ 10205371 w 10667698"/>
              <a:gd name="connsiteY3" fmla="*/ 684236 h 1027875"/>
              <a:gd name="connsiteX4" fmla="*/ 1140078 w 10667698"/>
              <a:gd name="connsiteY4" fmla="*/ 676765 h 1027875"/>
              <a:gd name="connsiteX5" fmla="*/ 515933 w 10667698"/>
              <a:gd name="connsiteY5" fmla="*/ 1027875 h 1027875"/>
              <a:gd name="connsiteX6" fmla="*/ 5796 w 10667698"/>
              <a:gd name="connsiteY6" fmla="*/ 690307 h 1027875"/>
              <a:gd name="connsiteX7" fmla="*/ 0 w 10667698"/>
              <a:gd name="connsiteY7" fmla="*/ 0 h 1027875"/>
              <a:gd name="connsiteX0" fmla="*/ 5796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5796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10137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4282 w 10661902"/>
              <a:gd name="connsiteY4" fmla="*/ 6767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37441 w 10661902"/>
              <a:gd name="connsiteY4" fmla="*/ 689465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3758 w 10661902"/>
              <a:gd name="connsiteY4" fmla="*/ 62914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1 w 10661902"/>
              <a:gd name="connsiteY0" fmla="*/ 0 h 1027875"/>
              <a:gd name="connsiteX1" fmla="*/ 10661902 w 10661902"/>
              <a:gd name="connsiteY1" fmla="*/ 5826 h 1027875"/>
              <a:gd name="connsiteX2" fmla="*/ 10661902 w 10661902"/>
              <a:gd name="connsiteY2" fmla="*/ 309317 h 1027875"/>
              <a:gd name="connsiteX3" fmla="*/ 10199575 w 10661902"/>
              <a:gd name="connsiteY3" fmla="*/ 684236 h 1027875"/>
              <a:gd name="connsiteX4" fmla="*/ 1140599 w 10661902"/>
              <a:gd name="connsiteY4" fmla="*/ 686290 h 1027875"/>
              <a:gd name="connsiteX5" fmla="*/ 560676 w 10661902"/>
              <a:gd name="connsiteY5" fmla="*/ 1027875 h 1027875"/>
              <a:gd name="connsiteX6" fmla="*/ 0 w 10661902"/>
              <a:gd name="connsiteY6" fmla="*/ 690307 h 1027875"/>
              <a:gd name="connsiteX7" fmla="*/ 1 w 10661902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74432 h 1027875"/>
              <a:gd name="connsiteX7" fmla="*/ 0 w 10661901"/>
              <a:gd name="connsiteY7" fmla="*/ 0 h 1027875"/>
              <a:gd name="connsiteX0" fmla="*/ 0 w 10661901"/>
              <a:gd name="connsiteY0" fmla="*/ 0 h 1027875"/>
              <a:gd name="connsiteX1" fmla="*/ 10661901 w 10661901"/>
              <a:gd name="connsiteY1" fmla="*/ 5826 h 1027875"/>
              <a:gd name="connsiteX2" fmla="*/ 10661901 w 10661901"/>
              <a:gd name="connsiteY2" fmla="*/ 309317 h 1027875"/>
              <a:gd name="connsiteX3" fmla="*/ 10199574 w 10661901"/>
              <a:gd name="connsiteY3" fmla="*/ 684236 h 1027875"/>
              <a:gd name="connsiteX4" fmla="*/ 1140598 w 10661901"/>
              <a:gd name="connsiteY4" fmla="*/ 686290 h 1027875"/>
              <a:gd name="connsiteX5" fmla="*/ 560675 w 10661901"/>
              <a:gd name="connsiteY5" fmla="*/ 1027875 h 1027875"/>
              <a:gd name="connsiteX6" fmla="*/ 3158 w 10661901"/>
              <a:gd name="connsiteY6" fmla="*/ 683957 h 1027875"/>
              <a:gd name="connsiteX7" fmla="*/ 0 w 10661901"/>
              <a:gd name="connsiteY7" fmla="*/ 0 h 1027875"/>
              <a:gd name="connsiteX0" fmla="*/ 0 w 10710088"/>
              <a:gd name="connsiteY0" fmla="*/ 0 h 1027875"/>
              <a:gd name="connsiteX1" fmla="*/ 10661901 w 10710088"/>
              <a:gd name="connsiteY1" fmla="*/ 5826 h 1027875"/>
              <a:gd name="connsiteX2" fmla="*/ 10661901 w 10710088"/>
              <a:gd name="connsiteY2" fmla="*/ 309317 h 1027875"/>
              <a:gd name="connsiteX3" fmla="*/ 10668871 w 10710088"/>
              <a:gd name="connsiteY3" fmla="*/ 684236 h 1027875"/>
              <a:gd name="connsiteX4" fmla="*/ 1140598 w 10710088"/>
              <a:gd name="connsiteY4" fmla="*/ 686290 h 1027875"/>
              <a:gd name="connsiteX5" fmla="*/ 560675 w 10710088"/>
              <a:gd name="connsiteY5" fmla="*/ 1027875 h 1027875"/>
              <a:gd name="connsiteX6" fmla="*/ 3158 w 10710088"/>
              <a:gd name="connsiteY6" fmla="*/ 683957 h 1027875"/>
              <a:gd name="connsiteX7" fmla="*/ 0 w 10710088"/>
              <a:gd name="connsiteY7" fmla="*/ 0 h 1027875"/>
              <a:gd name="connsiteX0" fmla="*/ 0 w 10668871"/>
              <a:gd name="connsiteY0" fmla="*/ 0 h 1027875"/>
              <a:gd name="connsiteX1" fmla="*/ 10661901 w 10668871"/>
              <a:gd name="connsiteY1" fmla="*/ 5826 h 1027875"/>
              <a:gd name="connsiteX2" fmla="*/ 10668871 w 10668871"/>
              <a:gd name="connsiteY2" fmla="*/ 684236 h 1027875"/>
              <a:gd name="connsiteX3" fmla="*/ 1140598 w 10668871"/>
              <a:gd name="connsiteY3" fmla="*/ 686290 h 1027875"/>
              <a:gd name="connsiteX4" fmla="*/ 560675 w 10668871"/>
              <a:gd name="connsiteY4" fmla="*/ 1027875 h 1027875"/>
              <a:gd name="connsiteX5" fmla="*/ 3158 w 10668871"/>
              <a:gd name="connsiteY5" fmla="*/ 683957 h 1027875"/>
              <a:gd name="connsiteX6" fmla="*/ 0 w 10668871"/>
              <a:gd name="connsiteY6" fmla="*/ 0 h 1027875"/>
              <a:gd name="connsiteX0" fmla="*/ 0 w 10662015"/>
              <a:gd name="connsiteY0" fmla="*/ 0 h 1027875"/>
              <a:gd name="connsiteX1" fmla="*/ 10661901 w 10662015"/>
              <a:gd name="connsiteY1" fmla="*/ 5826 h 1027875"/>
              <a:gd name="connsiteX2" fmla="*/ 10632772 w 10662015"/>
              <a:gd name="connsiteY2" fmla="*/ 684236 h 1027875"/>
              <a:gd name="connsiteX3" fmla="*/ 1140598 w 10662015"/>
              <a:gd name="connsiteY3" fmla="*/ 686290 h 1027875"/>
              <a:gd name="connsiteX4" fmla="*/ 560675 w 10662015"/>
              <a:gd name="connsiteY4" fmla="*/ 1027875 h 1027875"/>
              <a:gd name="connsiteX5" fmla="*/ 3158 w 10662015"/>
              <a:gd name="connsiteY5" fmla="*/ 683957 h 1027875"/>
              <a:gd name="connsiteX6" fmla="*/ 0 w 10662015"/>
              <a:gd name="connsiteY6" fmla="*/ 0 h 1027875"/>
              <a:gd name="connsiteX0" fmla="*/ 0 w 10632772"/>
              <a:gd name="connsiteY0" fmla="*/ 0 h 1027875"/>
              <a:gd name="connsiteX1" fmla="*/ 10616776 w 10632772"/>
              <a:gd name="connsiteY1" fmla="*/ 559150 h 1027875"/>
              <a:gd name="connsiteX2" fmla="*/ 10632772 w 10632772"/>
              <a:gd name="connsiteY2" fmla="*/ 684236 h 1027875"/>
              <a:gd name="connsiteX3" fmla="*/ 1140598 w 10632772"/>
              <a:gd name="connsiteY3" fmla="*/ 686290 h 1027875"/>
              <a:gd name="connsiteX4" fmla="*/ 560675 w 10632772"/>
              <a:gd name="connsiteY4" fmla="*/ 1027875 h 1027875"/>
              <a:gd name="connsiteX5" fmla="*/ 3158 w 10632772"/>
              <a:gd name="connsiteY5" fmla="*/ 683957 h 1027875"/>
              <a:gd name="connsiteX6" fmla="*/ 0 w 10632772"/>
              <a:gd name="connsiteY6" fmla="*/ 0 h 1027875"/>
              <a:gd name="connsiteX0" fmla="*/ 5867 w 10629614"/>
              <a:gd name="connsiteY0" fmla="*/ 12316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5867 w 10629614"/>
              <a:gd name="connsiteY6" fmla="*/ 12316 h 468725"/>
              <a:gd name="connsiteX0" fmla="*/ 0 w 10636382"/>
              <a:gd name="connsiteY0" fmla="*/ 12316 h 468725"/>
              <a:gd name="connsiteX1" fmla="*/ 10620386 w 10636382"/>
              <a:gd name="connsiteY1" fmla="*/ 0 h 468725"/>
              <a:gd name="connsiteX2" fmla="*/ 10636382 w 10636382"/>
              <a:gd name="connsiteY2" fmla="*/ 125086 h 468725"/>
              <a:gd name="connsiteX3" fmla="*/ 1144208 w 10636382"/>
              <a:gd name="connsiteY3" fmla="*/ 127140 h 468725"/>
              <a:gd name="connsiteX4" fmla="*/ 564285 w 10636382"/>
              <a:gd name="connsiteY4" fmla="*/ 468725 h 468725"/>
              <a:gd name="connsiteX5" fmla="*/ 6768 w 10636382"/>
              <a:gd name="connsiteY5" fmla="*/ 124807 h 468725"/>
              <a:gd name="connsiteX6" fmla="*/ 0 w 10636382"/>
              <a:gd name="connsiteY6" fmla="*/ 12316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239608 w 10629614"/>
              <a:gd name="connsiteY0" fmla="*/ 21841 h 468725"/>
              <a:gd name="connsiteX1" fmla="*/ 10613618 w 10629614"/>
              <a:gd name="connsiteY1" fmla="*/ 0 h 468725"/>
              <a:gd name="connsiteX2" fmla="*/ 10629614 w 10629614"/>
              <a:gd name="connsiteY2" fmla="*/ 125086 h 468725"/>
              <a:gd name="connsiteX3" fmla="*/ 1137440 w 10629614"/>
              <a:gd name="connsiteY3" fmla="*/ 127140 h 468725"/>
              <a:gd name="connsiteX4" fmla="*/ 557517 w 10629614"/>
              <a:gd name="connsiteY4" fmla="*/ 468725 h 468725"/>
              <a:gd name="connsiteX5" fmla="*/ 0 w 10629614"/>
              <a:gd name="connsiteY5" fmla="*/ 124807 h 468725"/>
              <a:gd name="connsiteX6" fmla="*/ 239608 w 10629614"/>
              <a:gd name="connsiteY6" fmla="*/ 2184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065"/>
              <a:gd name="connsiteY0" fmla="*/ 2791 h 468725"/>
              <a:gd name="connsiteX1" fmla="*/ 10614069 w 10630065"/>
              <a:gd name="connsiteY1" fmla="*/ 0 h 468725"/>
              <a:gd name="connsiteX2" fmla="*/ 10630065 w 10630065"/>
              <a:gd name="connsiteY2" fmla="*/ 125086 h 468725"/>
              <a:gd name="connsiteX3" fmla="*/ 1137891 w 10630065"/>
              <a:gd name="connsiteY3" fmla="*/ 127140 h 468725"/>
              <a:gd name="connsiteX4" fmla="*/ 557968 w 10630065"/>
              <a:gd name="connsiteY4" fmla="*/ 468725 h 468725"/>
              <a:gd name="connsiteX5" fmla="*/ 451 w 10630065"/>
              <a:gd name="connsiteY5" fmla="*/ 124807 h 468725"/>
              <a:gd name="connsiteX6" fmla="*/ 0 w 10630065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451 w 10630556"/>
              <a:gd name="connsiteY5" fmla="*/ 124807 h 468725"/>
              <a:gd name="connsiteX6" fmla="*/ 0 w 10630556"/>
              <a:gd name="connsiteY6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0 w 10630556"/>
              <a:gd name="connsiteY0" fmla="*/ 2791 h 468725"/>
              <a:gd name="connsiteX1" fmla="*/ 10629862 w 10630556"/>
              <a:gd name="connsiteY1" fmla="*/ 0 h 468725"/>
              <a:gd name="connsiteX2" fmla="*/ 10630065 w 10630556"/>
              <a:gd name="connsiteY2" fmla="*/ 125086 h 468725"/>
              <a:gd name="connsiteX3" fmla="*/ 1137891 w 10630556"/>
              <a:gd name="connsiteY3" fmla="*/ 127140 h 468725"/>
              <a:gd name="connsiteX4" fmla="*/ 557968 w 10630556"/>
              <a:gd name="connsiteY4" fmla="*/ 468725 h 468725"/>
              <a:gd name="connsiteX5" fmla="*/ 75946 w 10630556"/>
              <a:gd name="connsiteY5" fmla="*/ 125867 h 468725"/>
              <a:gd name="connsiteX6" fmla="*/ 451 w 10630556"/>
              <a:gd name="connsiteY6" fmla="*/ 124807 h 468725"/>
              <a:gd name="connsiteX7" fmla="*/ 0 w 10630556"/>
              <a:gd name="connsiteY7" fmla="*/ 2791 h 468725"/>
              <a:gd name="connsiteX0" fmla="*/ 782750 w 11413306"/>
              <a:gd name="connsiteY0" fmla="*/ 2791 h 468725"/>
              <a:gd name="connsiteX1" fmla="*/ 11412612 w 11413306"/>
              <a:gd name="connsiteY1" fmla="*/ 0 h 468725"/>
              <a:gd name="connsiteX2" fmla="*/ 11412815 w 11413306"/>
              <a:gd name="connsiteY2" fmla="*/ 125086 h 468725"/>
              <a:gd name="connsiteX3" fmla="*/ 1920641 w 11413306"/>
              <a:gd name="connsiteY3" fmla="*/ 127140 h 468725"/>
              <a:gd name="connsiteX4" fmla="*/ 1340718 w 11413306"/>
              <a:gd name="connsiteY4" fmla="*/ 468725 h 468725"/>
              <a:gd name="connsiteX5" fmla="*/ 858696 w 11413306"/>
              <a:gd name="connsiteY5" fmla="*/ 125867 h 468725"/>
              <a:gd name="connsiteX6" fmla="*/ 782750 w 11413306"/>
              <a:gd name="connsiteY6" fmla="*/ 2791 h 468725"/>
              <a:gd name="connsiteX0" fmla="*/ 802813 w 11357561"/>
              <a:gd name="connsiteY0" fmla="*/ 2791 h 468725"/>
              <a:gd name="connsiteX1" fmla="*/ 11356867 w 11357561"/>
              <a:gd name="connsiteY1" fmla="*/ 0 h 468725"/>
              <a:gd name="connsiteX2" fmla="*/ 11357070 w 11357561"/>
              <a:gd name="connsiteY2" fmla="*/ 125086 h 468725"/>
              <a:gd name="connsiteX3" fmla="*/ 1864896 w 11357561"/>
              <a:gd name="connsiteY3" fmla="*/ 127140 h 468725"/>
              <a:gd name="connsiteX4" fmla="*/ 1284973 w 11357561"/>
              <a:gd name="connsiteY4" fmla="*/ 468725 h 468725"/>
              <a:gd name="connsiteX5" fmla="*/ 802951 w 11357561"/>
              <a:gd name="connsiteY5" fmla="*/ 125867 h 468725"/>
              <a:gd name="connsiteX6" fmla="*/ 802813 w 11357561"/>
              <a:gd name="connsiteY6" fmla="*/ 2791 h 468725"/>
              <a:gd name="connsiteX0" fmla="*/ 341552 w 10896300"/>
              <a:gd name="connsiteY0" fmla="*/ 2791 h 468725"/>
              <a:gd name="connsiteX1" fmla="*/ 10895606 w 10896300"/>
              <a:gd name="connsiteY1" fmla="*/ 0 h 468725"/>
              <a:gd name="connsiteX2" fmla="*/ 10895809 w 10896300"/>
              <a:gd name="connsiteY2" fmla="*/ 125086 h 468725"/>
              <a:gd name="connsiteX3" fmla="*/ 1403635 w 10896300"/>
              <a:gd name="connsiteY3" fmla="*/ 127140 h 468725"/>
              <a:gd name="connsiteX4" fmla="*/ 823712 w 10896300"/>
              <a:gd name="connsiteY4" fmla="*/ 468725 h 468725"/>
              <a:gd name="connsiteX5" fmla="*/ 341690 w 10896300"/>
              <a:gd name="connsiteY5" fmla="*/ 125867 h 468725"/>
              <a:gd name="connsiteX6" fmla="*/ 341552 w 10896300"/>
              <a:gd name="connsiteY6" fmla="*/ 2791 h 468725"/>
              <a:gd name="connsiteX0" fmla="*/ 41143 w 10595891"/>
              <a:gd name="connsiteY0" fmla="*/ 2791 h 468725"/>
              <a:gd name="connsiteX1" fmla="*/ 10595197 w 10595891"/>
              <a:gd name="connsiteY1" fmla="*/ 0 h 468725"/>
              <a:gd name="connsiteX2" fmla="*/ 10595400 w 10595891"/>
              <a:gd name="connsiteY2" fmla="*/ 125086 h 468725"/>
              <a:gd name="connsiteX3" fmla="*/ 1103226 w 10595891"/>
              <a:gd name="connsiteY3" fmla="*/ 127140 h 468725"/>
              <a:gd name="connsiteX4" fmla="*/ 523303 w 10595891"/>
              <a:gd name="connsiteY4" fmla="*/ 468725 h 468725"/>
              <a:gd name="connsiteX5" fmla="*/ 41281 w 10595891"/>
              <a:gd name="connsiteY5" fmla="*/ 125867 h 468725"/>
              <a:gd name="connsiteX6" fmla="*/ 41143 w 1059589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25867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2791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2791 h 468725"/>
              <a:gd name="connsiteX0" fmla="*/ 433 w 10555181"/>
              <a:gd name="connsiteY0" fmla="*/ 44066 h 468725"/>
              <a:gd name="connsiteX1" fmla="*/ 10554487 w 10555181"/>
              <a:gd name="connsiteY1" fmla="*/ 0 h 468725"/>
              <a:gd name="connsiteX2" fmla="*/ 10554690 w 10555181"/>
              <a:gd name="connsiteY2" fmla="*/ 125086 h 468725"/>
              <a:gd name="connsiteX3" fmla="*/ 1062516 w 10555181"/>
              <a:gd name="connsiteY3" fmla="*/ 127140 h 468725"/>
              <a:gd name="connsiteX4" fmla="*/ 482593 w 10555181"/>
              <a:gd name="connsiteY4" fmla="*/ 468725 h 468725"/>
              <a:gd name="connsiteX5" fmla="*/ 571 w 10555181"/>
              <a:gd name="connsiteY5" fmla="*/ 139671 h 468725"/>
              <a:gd name="connsiteX6" fmla="*/ 433 w 10555181"/>
              <a:gd name="connsiteY6" fmla="*/ 44066 h 468725"/>
              <a:gd name="connsiteX0" fmla="*/ 433 w 10554690"/>
              <a:gd name="connsiteY0" fmla="*/ 5966 h 430625"/>
              <a:gd name="connsiteX1" fmla="*/ 10551351 w 10554690"/>
              <a:gd name="connsiteY1" fmla="*/ 0 h 430625"/>
              <a:gd name="connsiteX2" fmla="*/ 10554690 w 10554690"/>
              <a:gd name="connsiteY2" fmla="*/ 86986 h 430625"/>
              <a:gd name="connsiteX3" fmla="*/ 1062516 w 10554690"/>
              <a:gd name="connsiteY3" fmla="*/ 89040 h 430625"/>
              <a:gd name="connsiteX4" fmla="*/ 482593 w 10554690"/>
              <a:gd name="connsiteY4" fmla="*/ 430625 h 430625"/>
              <a:gd name="connsiteX5" fmla="*/ 571 w 10554690"/>
              <a:gd name="connsiteY5" fmla="*/ 101571 h 430625"/>
              <a:gd name="connsiteX6" fmla="*/ 433 w 10554690"/>
              <a:gd name="connsiteY6" fmla="*/ 5966 h 430625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62516 w 10554690"/>
              <a:gd name="connsiteY3" fmla="*/ 89040 h 427450"/>
              <a:gd name="connsiteX4" fmla="*/ 482593 w 10554690"/>
              <a:gd name="connsiteY4" fmla="*/ 427450 h 427450"/>
              <a:gd name="connsiteX5" fmla="*/ 571 w 10554690"/>
              <a:gd name="connsiteY5" fmla="*/ 101571 h 427450"/>
              <a:gd name="connsiteX6" fmla="*/ 433 w 10554690"/>
              <a:gd name="connsiteY6" fmla="*/ 5966 h 427450"/>
              <a:gd name="connsiteX0" fmla="*/ 433 w 10554690"/>
              <a:gd name="connsiteY0" fmla="*/ 5966 h 427450"/>
              <a:gd name="connsiteX1" fmla="*/ 10551351 w 10554690"/>
              <a:gd name="connsiteY1" fmla="*/ 0 h 427450"/>
              <a:gd name="connsiteX2" fmla="*/ 10554690 w 10554690"/>
              <a:gd name="connsiteY2" fmla="*/ 86986 h 427450"/>
              <a:gd name="connsiteX3" fmla="*/ 10274940 w 10554690"/>
              <a:gd name="connsiteY3" fmla="*/ 87717 h 427450"/>
              <a:gd name="connsiteX4" fmla="*/ 1062516 w 10554690"/>
              <a:gd name="connsiteY4" fmla="*/ 89040 h 427450"/>
              <a:gd name="connsiteX5" fmla="*/ 482593 w 10554690"/>
              <a:gd name="connsiteY5" fmla="*/ 427450 h 427450"/>
              <a:gd name="connsiteX6" fmla="*/ 571 w 10554690"/>
              <a:gd name="connsiteY6" fmla="*/ 101571 h 427450"/>
              <a:gd name="connsiteX7" fmla="*/ 433 w 10554690"/>
              <a:gd name="connsiteY7" fmla="*/ 5966 h 427450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75754 h 497238"/>
              <a:gd name="connsiteX1" fmla="*/ 10551351 w 10554691"/>
              <a:gd name="connsiteY1" fmla="*/ 69788 h 497238"/>
              <a:gd name="connsiteX2" fmla="*/ 10554691 w 10554691"/>
              <a:gd name="connsiteY2" fmla="*/ 64699 h 497238"/>
              <a:gd name="connsiteX3" fmla="*/ 10274940 w 10554691"/>
              <a:gd name="connsiteY3" fmla="*/ 157505 h 497238"/>
              <a:gd name="connsiteX4" fmla="*/ 1062516 w 10554691"/>
              <a:gd name="connsiteY4" fmla="*/ 158828 h 497238"/>
              <a:gd name="connsiteX5" fmla="*/ 482593 w 10554691"/>
              <a:gd name="connsiteY5" fmla="*/ 497238 h 497238"/>
              <a:gd name="connsiteX6" fmla="*/ 571 w 10554691"/>
              <a:gd name="connsiteY6" fmla="*/ 171359 h 497238"/>
              <a:gd name="connsiteX7" fmla="*/ 433 w 10554691"/>
              <a:gd name="connsiteY7" fmla="*/ 75754 h 497238"/>
              <a:gd name="connsiteX0" fmla="*/ 433 w 10554691"/>
              <a:gd name="connsiteY0" fmla="*/ 60438 h 481922"/>
              <a:gd name="connsiteX1" fmla="*/ 10551351 w 10554691"/>
              <a:gd name="connsiteY1" fmla="*/ 54472 h 481922"/>
              <a:gd name="connsiteX2" fmla="*/ 10554691 w 10554691"/>
              <a:gd name="connsiteY2" fmla="*/ 49383 h 481922"/>
              <a:gd name="connsiteX3" fmla="*/ 10274940 w 10554691"/>
              <a:gd name="connsiteY3" fmla="*/ 142189 h 481922"/>
              <a:gd name="connsiteX4" fmla="*/ 1062516 w 10554691"/>
              <a:gd name="connsiteY4" fmla="*/ 143512 h 481922"/>
              <a:gd name="connsiteX5" fmla="*/ 482593 w 10554691"/>
              <a:gd name="connsiteY5" fmla="*/ 481922 h 481922"/>
              <a:gd name="connsiteX6" fmla="*/ 571 w 10554691"/>
              <a:gd name="connsiteY6" fmla="*/ 156043 h 481922"/>
              <a:gd name="connsiteX7" fmla="*/ 433 w 10554691"/>
              <a:gd name="connsiteY7" fmla="*/ 60438 h 481922"/>
              <a:gd name="connsiteX0" fmla="*/ 433 w 11661532"/>
              <a:gd name="connsiteY0" fmla="*/ 5966 h 427450"/>
              <a:gd name="connsiteX1" fmla="*/ 10551351 w 11661532"/>
              <a:gd name="connsiteY1" fmla="*/ 0 h 427450"/>
              <a:gd name="connsiteX2" fmla="*/ 10274940 w 11661532"/>
              <a:gd name="connsiteY2" fmla="*/ 87717 h 427450"/>
              <a:gd name="connsiteX3" fmla="*/ 1062516 w 11661532"/>
              <a:gd name="connsiteY3" fmla="*/ 89040 h 427450"/>
              <a:gd name="connsiteX4" fmla="*/ 482593 w 11661532"/>
              <a:gd name="connsiteY4" fmla="*/ 427450 h 427450"/>
              <a:gd name="connsiteX5" fmla="*/ 571 w 11661532"/>
              <a:gd name="connsiteY5" fmla="*/ 101571 h 427450"/>
              <a:gd name="connsiteX6" fmla="*/ 433 w 11661532"/>
              <a:gd name="connsiteY6" fmla="*/ 5966 h 427450"/>
              <a:gd name="connsiteX0" fmla="*/ 433 w 11071037"/>
              <a:gd name="connsiteY0" fmla="*/ 6015 h 427499"/>
              <a:gd name="connsiteX1" fmla="*/ 10551351 w 11071037"/>
              <a:gd name="connsiteY1" fmla="*/ 49 h 427499"/>
              <a:gd name="connsiteX2" fmla="*/ 10274940 w 11071037"/>
              <a:gd name="connsiteY2" fmla="*/ 87766 h 427499"/>
              <a:gd name="connsiteX3" fmla="*/ 1062516 w 11071037"/>
              <a:gd name="connsiteY3" fmla="*/ 89089 h 427499"/>
              <a:gd name="connsiteX4" fmla="*/ 482593 w 11071037"/>
              <a:gd name="connsiteY4" fmla="*/ 427499 h 427499"/>
              <a:gd name="connsiteX5" fmla="*/ 571 w 11071037"/>
              <a:gd name="connsiteY5" fmla="*/ 101620 h 427499"/>
              <a:gd name="connsiteX6" fmla="*/ 433 w 11071037"/>
              <a:gd name="connsiteY6" fmla="*/ 6015 h 427499"/>
              <a:gd name="connsiteX0" fmla="*/ 433 w 11057538"/>
              <a:gd name="connsiteY0" fmla="*/ 5966 h 427450"/>
              <a:gd name="connsiteX1" fmla="*/ 10551351 w 11057538"/>
              <a:gd name="connsiteY1" fmla="*/ 0 h 427450"/>
              <a:gd name="connsiteX2" fmla="*/ 10274940 w 11057538"/>
              <a:gd name="connsiteY2" fmla="*/ 87717 h 427450"/>
              <a:gd name="connsiteX3" fmla="*/ 1062516 w 11057538"/>
              <a:gd name="connsiteY3" fmla="*/ 89040 h 427450"/>
              <a:gd name="connsiteX4" fmla="*/ 482593 w 11057538"/>
              <a:gd name="connsiteY4" fmla="*/ 427450 h 427450"/>
              <a:gd name="connsiteX5" fmla="*/ 571 w 11057538"/>
              <a:gd name="connsiteY5" fmla="*/ 101571 h 427450"/>
              <a:gd name="connsiteX6" fmla="*/ 433 w 11057538"/>
              <a:gd name="connsiteY6" fmla="*/ 5966 h 427450"/>
              <a:gd name="connsiteX0" fmla="*/ 433 w 10551351"/>
              <a:gd name="connsiteY0" fmla="*/ 5966 h 427450"/>
              <a:gd name="connsiteX1" fmla="*/ 10551351 w 10551351"/>
              <a:gd name="connsiteY1" fmla="*/ 0 h 427450"/>
              <a:gd name="connsiteX2" fmla="*/ 10274940 w 10551351"/>
              <a:gd name="connsiteY2" fmla="*/ 87717 h 427450"/>
              <a:gd name="connsiteX3" fmla="*/ 1062516 w 10551351"/>
              <a:gd name="connsiteY3" fmla="*/ 89040 h 427450"/>
              <a:gd name="connsiteX4" fmla="*/ 482593 w 10551351"/>
              <a:gd name="connsiteY4" fmla="*/ 427450 h 427450"/>
              <a:gd name="connsiteX5" fmla="*/ 571 w 10551351"/>
              <a:gd name="connsiteY5" fmla="*/ 101571 h 427450"/>
              <a:gd name="connsiteX6" fmla="*/ 433 w 10551351"/>
              <a:gd name="connsiteY6" fmla="*/ 5966 h 427450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433 w 10551351"/>
              <a:gd name="connsiteY0" fmla="*/ 5966 h 341725"/>
              <a:gd name="connsiteX1" fmla="*/ 10551351 w 10551351"/>
              <a:gd name="connsiteY1" fmla="*/ 0 h 341725"/>
              <a:gd name="connsiteX2" fmla="*/ 10274940 w 10551351"/>
              <a:gd name="connsiteY2" fmla="*/ 87717 h 341725"/>
              <a:gd name="connsiteX3" fmla="*/ 1062516 w 10551351"/>
              <a:gd name="connsiteY3" fmla="*/ 89040 h 341725"/>
              <a:gd name="connsiteX4" fmla="*/ 482593 w 10551351"/>
              <a:gd name="connsiteY4" fmla="*/ 341725 h 341725"/>
              <a:gd name="connsiteX5" fmla="*/ 571 w 10551351"/>
              <a:gd name="connsiteY5" fmla="*/ 101571 h 341725"/>
              <a:gd name="connsiteX6" fmla="*/ 433 w 10551351"/>
              <a:gd name="connsiteY6" fmla="*/ 5966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0 w 11177990"/>
              <a:gd name="connsiteY6" fmla="*/ 2791 h 341725"/>
              <a:gd name="connsiteX0" fmla="*/ 780014 w 11958004"/>
              <a:gd name="connsiteY0" fmla="*/ 2791 h 341725"/>
              <a:gd name="connsiteX1" fmla="*/ 11958004 w 11958004"/>
              <a:gd name="connsiteY1" fmla="*/ 0 h 341725"/>
              <a:gd name="connsiteX2" fmla="*/ 11681593 w 11958004"/>
              <a:gd name="connsiteY2" fmla="*/ 87717 h 341725"/>
              <a:gd name="connsiteX3" fmla="*/ 2469169 w 11958004"/>
              <a:gd name="connsiteY3" fmla="*/ 89040 h 341725"/>
              <a:gd name="connsiteX4" fmla="*/ 1889246 w 11958004"/>
              <a:gd name="connsiteY4" fmla="*/ 341725 h 341725"/>
              <a:gd name="connsiteX5" fmla="*/ 1407224 w 11958004"/>
              <a:gd name="connsiteY5" fmla="*/ 101571 h 341725"/>
              <a:gd name="connsiteX6" fmla="*/ 998158 w 11958004"/>
              <a:gd name="connsiteY6" fmla="*/ 40093 h 341725"/>
              <a:gd name="connsiteX7" fmla="*/ 780014 w 11958004"/>
              <a:gd name="connsiteY7" fmla="*/ 2791 h 341725"/>
              <a:gd name="connsiteX0" fmla="*/ 758495 w 11936485"/>
              <a:gd name="connsiteY0" fmla="*/ 2791 h 341725"/>
              <a:gd name="connsiteX1" fmla="*/ 11936485 w 11936485"/>
              <a:gd name="connsiteY1" fmla="*/ 0 h 341725"/>
              <a:gd name="connsiteX2" fmla="*/ 11660074 w 11936485"/>
              <a:gd name="connsiteY2" fmla="*/ 87717 h 341725"/>
              <a:gd name="connsiteX3" fmla="*/ 2447650 w 11936485"/>
              <a:gd name="connsiteY3" fmla="*/ 89040 h 341725"/>
              <a:gd name="connsiteX4" fmla="*/ 1867727 w 11936485"/>
              <a:gd name="connsiteY4" fmla="*/ 341725 h 341725"/>
              <a:gd name="connsiteX5" fmla="*/ 1385705 w 11936485"/>
              <a:gd name="connsiteY5" fmla="*/ 101571 h 341725"/>
              <a:gd name="connsiteX6" fmla="*/ 976639 w 11936485"/>
              <a:gd name="connsiteY6" fmla="*/ 40093 h 341725"/>
              <a:gd name="connsiteX7" fmla="*/ 758495 w 11936485"/>
              <a:gd name="connsiteY7" fmla="*/ 2791 h 341725"/>
              <a:gd name="connsiteX0" fmla="*/ 0 w 11177990"/>
              <a:gd name="connsiteY0" fmla="*/ 2791 h 341725"/>
              <a:gd name="connsiteX1" fmla="*/ 11177990 w 11177990"/>
              <a:gd name="connsiteY1" fmla="*/ 0 h 341725"/>
              <a:gd name="connsiteX2" fmla="*/ 10901579 w 11177990"/>
              <a:gd name="connsiteY2" fmla="*/ 87717 h 341725"/>
              <a:gd name="connsiteX3" fmla="*/ 1689155 w 11177990"/>
              <a:gd name="connsiteY3" fmla="*/ 89040 h 341725"/>
              <a:gd name="connsiteX4" fmla="*/ 1109232 w 11177990"/>
              <a:gd name="connsiteY4" fmla="*/ 341725 h 341725"/>
              <a:gd name="connsiteX5" fmla="*/ 627210 w 11177990"/>
              <a:gd name="connsiteY5" fmla="*/ 101571 h 341725"/>
              <a:gd name="connsiteX6" fmla="*/ 218144 w 11177990"/>
              <a:gd name="connsiteY6" fmla="*/ 40093 h 341725"/>
              <a:gd name="connsiteX7" fmla="*/ 0 w 11177990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94068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902910 w 11179321"/>
              <a:gd name="connsiteY2" fmla="*/ 87717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1179321"/>
              <a:gd name="connsiteY0" fmla="*/ 2791 h 341725"/>
              <a:gd name="connsiteX1" fmla="*/ 11179321 w 11179321"/>
              <a:gd name="connsiteY1" fmla="*/ 0 h 341725"/>
              <a:gd name="connsiteX2" fmla="*/ 10567427 w 11179321"/>
              <a:gd name="connsiteY2" fmla="*/ 90892 h 341725"/>
              <a:gd name="connsiteX3" fmla="*/ 1690486 w 11179321"/>
              <a:gd name="connsiteY3" fmla="*/ 89040 h 341725"/>
              <a:gd name="connsiteX4" fmla="*/ 1110563 w 11179321"/>
              <a:gd name="connsiteY4" fmla="*/ 341725 h 341725"/>
              <a:gd name="connsiteX5" fmla="*/ 628541 w 11179321"/>
              <a:gd name="connsiteY5" fmla="*/ 101571 h 341725"/>
              <a:gd name="connsiteX6" fmla="*/ 0 w 11179321"/>
              <a:gd name="connsiteY6" fmla="*/ 103593 h 341725"/>
              <a:gd name="connsiteX7" fmla="*/ 1331 w 11179321"/>
              <a:gd name="connsiteY7" fmla="*/ 2791 h 341725"/>
              <a:gd name="connsiteX0" fmla="*/ 1331 w 10600099"/>
              <a:gd name="connsiteY0" fmla="*/ 2791 h 341725"/>
              <a:gd name="connsiteX1" fmla="*/ 10561656 w 10600099"/>
              <a:gd name="connsiteY1" fmla="*/ 0 h 341725"/>
              <a:gd name="connsiteX2" fmla="*/ 10567427 w 10600099"/>
              <a:gd name="connsiteY2" fmla="*/ 90892 h 341725"/>
              <a:gd name="connsiteX3" fmla="*/ 1690486 w 10600099"/>
              <a:gd name="connsiteY3" fmla="*/ 89040 h 341725"/>
              <a:gd name="connsiteX4" fmla="*/ 1110563 w 10600099"/>
              <a:gd name="connsiteY4" fmla="*/ 341725 h 341725"/>
              <a:gd name="connsiteX5" fmla="*/ 628541 w 10600099"/>
              <a:gd name="connsiteY5" fmla="*/ 101571 h 341725"/>
              <a:gd name="connsiteX6" fmla="*/ 0 w 10600099"/>
              <a:gd name="connsiteY6" fmla="*/ 103593 h 341725"/>
              <a:gd name="connsiteX7" fmla="*/ 1331 w 10600099"/>
              <a:gd name="connsiteY7" fmla="*/ 2791 h 341725"/>
              <a:gd name="connsiteX0" fmla="*/ 1331 w 10567427"/>
              <a:gd name="connsiteY0" fmla="*/ 2791 h 341725"/>
              <a:gd name="connsiteX1" fmla="*/ 10561656 w 10567427"/>
              <a:gd name="connsiteY1" fmla="*/ 0 h 341725"/>
              <a:gd name="connsiteX2" fmla="*/ 10567427 w 10567427"/>
              <a:gd name="connsiteY2" fmla="*/ 90892 h 341725"/>
              <a:gd name="connsiteX3" fmla="*/ 1690486 w 10567427"/>
              <a:gd name="connsiteY3" fmla="*/ 89040 h 341725"/>
              <a:gd name="connsiteX4" fmla="*/ 1110563 w 10567427"/>
              <a:gd name="connsiteY4" fmla="*/ 341725 h 341725"/>
              <a:gd name="connsiteX5" fmla="*/ 628541 w 10567427"/>
              <a:gd name="connsiteY5" fmla="*/ 101571 h 341725"/>
              <a:gd name="connsiteX6" fmla="*/ 0 w 10567427"/>
              <a:gd name="connsiteY6" fmla="*/ 103593 h 341725"/>
              <a:gd name="connsiteX7" fmla="*/ 1331 w 10567427"/>
              <a:gd name="connsiteY7" fmla="*/ 2791 h 341725"/>
              <a:gd name="connsiteX0" fmla="*/ 1331 w 10561687"/>
              <a:gd name="connsiteY0" fmla="*/ 2791 h 341725"/>
              <a:gd name="connsiteX1" fmla="*/ 10561656 w 10561687"/>
              <a:gd name="connsiteY1" fmla="*/ 0 h 341725"/>
              <a:gd name="connsiteX2" fmla="*/ 10561157 w 10561687"/>
              <a:gd name="connsiteY2" fmla="*/ 90892 h 341725"/>
              <a:gd name="connsiteX3" fmla="*/ 1690486 w 10561687"/>
              <a:gd name="connsiteY3" fmla="*/ 89040 h 341725"/>
              <a:gd name="connsiteX4" fmla="*/ 1110563 w 10561687"/>
              <a:gd name="connsiteY4" fmla="*/ 341725 h 341725"/>
              <a:gd name="connsiteX5" fmla="*/ 628541 w 10561687"/>
              <a:gd name="connsiteY5" fmla="*/ 101571 h 341725"/>
              <a:gd name="connsiteX6" fmla="*/ 0 w 10561687"/>
              <a:gd name="connsiteY6" fmla="*/ 103593 h 341725"/>
              <a:gd name="connsiteX7" fmla="*/ 1331 w 10561687"/>
              <a:gd name="connsiteY7" fmla="*/ 2791 h 341725"/>
              <a:gd name="connsiteX0" fmla="*/ 1331 w 10562072"/>
              <a:gd name="connsiteY0" fmla="*/ 2791 h 341725"/>
              <a:gd name="connsiteX1" fmla="*/ 10561656 w 10562072"/>
              <a:gd name="connsiteY1" fmla="*/ 0 h 341725"/>
              <a:gd name="connsiteX2" fmla="*/ 10561157 w 10562072"/>
              <a:gd name="connsiteY2" fmla="*/ 90892 h 341725"/>
              <a:gd name="connsiteX3" fmla="*/ 1690486 w 10562072"/>
              <a:gd name="connsiteY3" fmla="*/ 89040 h 341725"/>
              <a:gd name="connsiteX4" fmla="*/ 1110563 w 10562072"/>
              <a:gd name="connsiteY4" fmla="*/ 341725 h 341725"/>
              <a:gd name="connsiteX5" fmla="*/ 628541 w 10562072"/>
              <a:gd name="connsiteY5" fmla="*/ 101571 h 341725"/>
              <a:gd name="connsiteX6" fmla="*/ 0 w 10562072"/>
              <a:gd name="connsiteY6" fmla="*/ 103593 h 341725"/>
              <a:gd name="connsiteX7" fmla="*/ 1331 w 10562072"/>
              <a:gd name="connsiteY7" fmla="*/ 2791 h 341725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1690486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628541 w 10562072"/>
              <a:gd name="connsiteY5" fmla="*/ 101571 h 887696"/>
              <a:gd name="connsiteX6" fmla="*/ 0 w 10562072"/>
              <a:gd name="connsiteY6" fmla="*/ 103593 h 887696"/>
              <a:gd name="connsiteX7" fmla="*/ 1331 w 10562072"/>
              <a:gd name="connsiteY7" fmla="*/ 2791 h 887696"/>
              <a:gd name="connsiteX0" fmla="*/ 1331 w 10562072"/>
              <a:gd name="connsiteY0" fmla="*/ 2791 h 887702"/>
              <a:gd name="connsiteX1" fmla="*/ 10561656 w 10562072"/>
              <a:gd name="connsiteY1" fmla="*/ 0 h 887702"/>
              <a:gd name="connsiteX2" fmla="*/ 10561157 w 10562072"/>
              <a:gd name="connsiteY2" fmla="*/ 90892 h 887702"/>
              <a:gd name="connsiteX3" fmla="*/ 2317558 w 10562072"/>
              <a:gd name="connsiteY3" fmla="*/ 89040 h 887702"/>
              <a:gd name="connsiteX4" fmla="*/ 1180889 w 10562072"/>
              <a:gd name="connsiteY4" fmla="*/ 887696 h 887702"/>
              <a:gd name="connsiteX5" fmla="*/ 0 w 10562072"/>
              <a:gd name="connsiteY5" fmla="*/ 103593 h 887702"/>
              <a:gd name="connsiteX6" fmla="*/ 1331 w 10562072"/>
              <a:gd name="connsiteY6" fmla="*/ 2791 h 887702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1331 w 10562072"/>
              <a:gd name="connsiteY0" fmla="*/ 2791 h 887696"/>
              <a:gd name="connsiteX1" fmla="*/ 10561656 w 10562072"/>
              <a:gd name="connsiteY1" fmla="*/ 0 h 887696"/>
              <a:gd name="connsiteX2" fmla="*/ 10561157 w 10562072"/>
              <a:gd name="connsiteY2" fmla="*/ 90892 h 887696"/>
              <a:gd name="connsiteX3" fmla="*/ 2317558 w 10562072"/>
              <a:gd name="connsiteY3" fmla="*/ 89040 h 887696"/>
              <a:gd name="connsiteX4" fmla="*/ 1180889 w 10562072"/>
              <a:gd name="connsiteY4" fmla="*/ 887696 h 887696"/>
              <a:gd name="connsiteX5" fmla="*/ 0 w 10562072"/>
              <a:gd name="connsiteY5" fmla="*/ 103593 h 887696"/>
              <a:gd name="connsiteX6" fmla="*/ 1331 w 10562072"/>
              <a:gd name="connsiteY6" fmla="*/ 2791 h 887696"/>
              <a:gd name="connsiteX0" fmla="*/ 0 w 10568342"/>
              <a:gd name="connsiteY0" fmla="*/ 0 h 2916892"/>
              <a:gd name="connsiteX1" fmla="*/ 10567926 w 10568342"/>
              <a:gd name="connsiteY1" fmla="*/ 2029196 h 2916892"/>
              <a:gd name="connsiteX2" fmla="*/ 10567427 w 10568342"/>
              <a:gd name="connsiteY2" fmla="*/ 2120088 h 2916892"/>
              <a:gd name="connsiteX3" fmla="*/ 2323828 w 10568342"/>
              <a:gd name="connsiteY3" fmla="*/ 2118236 h 2916892"/>
              <a:gd name="connsiteX4" fmla="*/ 1187159 w 10568342"/>
              <a:gd name="connsiteY4" fmla="*/ 2916892 h 2916892"/>
              <a:gd name="connsiteX5" fmla="*/ 6270 w 10568342"/>
              <a:gd name="connsiteY5" fmla="*/ 2132789 h 2916892"/>
              <a:gd name="connsiteX6" fmla="*/ 0 w 10568342"/>
              <a:gd name="connsiteY6" fmla="*/ 0 h 2916892"/>
              <a:gd name="connsiteX0" fmla="*/ 0 w 10575943"/>
              <a:gd name="connsiteY0" fmla="*/ 0 h 2955377"/>
              <a:gd name="connsiteX1" fmla="*/ 10575527 w 10575943"/>
              <a:gd name="connsiteY1" fmla="*/ 2067681 h 2955377"/>
              <a:gd name="connsiteX2" fmla="*/ 10575028 w 10575943"/>
              <a:gd name="connsiteY2" fmla="*/ 2158573 h 2955377"/>
              <a:gd name="connsiteX3" fmla="*/ 2331429 w 10575943"/>
              <a:gd name="connsiteY3" fmla="*/ 2156721 h 2955377"/>
              <a:gd name="connsiteX4" fmla="*/ 1194760 w 10575943"/>
              <a:gd name="connsiteY4" fmla="*/ 2955377 h 2955377"/>
              <a:gd name="connsiteX5" fmla="*/ 13871 w 10575943"/>
              <a:gd name="connsiteY5" fmla="*/ 2171274 h 2955377"/>
              <a:gd name="connsiteX6" fmla="*/ 0 w 10575943"/>
              <a:gd name="connsiteY6" fmla="*/ 0 h 2955377"/>
              <a:gd name="connsiteX0" fmla="*/ 267371 w 10562072"/>
              <a:gd name="connsiteY0" fmla="*/ 0 h 2685985"/>
              <a:gd name="connsiteX1" fmla="*/ 10561656 w 10562072"/>
              <a:gd name="connsiteY1" fmla="*/ 1798289 h 2685985"/>
              <a:gd name="connsiteX2" fmla="*/ 10561157 w 10562072"/>
              <a:gd name="connsiteY2" fmla="*/ 1889181 h 2685985"/>
              <a:gd name="connsiteX3" fmla="*/ 2317558 w 10562072"/>
              <a:gd name="connsiteY3" fmla="*/ 1887329 h 2685985"/>
              <a:gd name="connsiteX4" fmla="*/ 1180889 w 10562072"/>
              <a:gd name="connsiteY4" fmla="*/ 2685985 h 2685985"/>
              <a:gd name="connsiteX5" fmla="*/ 0 w 10562072"/>
              <a:gd name="connsiteY5" fmla="*/ 1901882 h 2685985"/>
              <a:gd name="connsiteX6" fmla="*/ 267371 w 10562072"/>
              <a:gd name="connsiteY6" fmla="*/ 0 h 2685985"/>
              <a:gd name="connsiteX0" fmla="*/ 1331 w 10562072"/>
              <a:gd name="connsiteY0" fmla="*/ 0 h 2955377"/>
              <a:gd name="connsiteX1" fmla="*/ 10561656 w 10562072"/>
              <a:gd name="connsiteY1" fmla="*/ 2067681 h 2955377"/>
              <a:gd name="connsiteX2" fmla="*/ 10561157 w 10562072"/>
              <a:gd name="connsiteY2" fmla="*/ 2158573 h 2955377"/>
              <a:gd name="connsiteX3" fmla="*/ 2317558 w 10562072"/>
              <a:gd name="connsiteY3" fmla="*/ 2156721 h 2955377"/>
              <a:gd name="connsiteX4" fmla="*/ 1180889 w 10562072"/>
              <a:gd name="connsiteY4" fmla="*/ 2955377 h 2955377"/>
              <a:gd name="connsiteX5" fmla="*/ 0 w 10562072"/>
              <a:gd name="connsiteY5" fmla="*/ 2171274 h 2955377"/>
              <a:gd name="connsiteX6" fmla="*/ 1331 w 10562072"/>
              <a:gd name="connsiteY6" fmla="*/ 0 h 2955377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2317558 w 10562072"/>
              <a:gd name="connsiteY3" fmla="*/ 2159512 h 2958168"/>
              <a:gd name="connsiteX4" fmla="*/ 1180889 w 10562072"/>
              <a:gd name="connsiteY4" fmla="*/ 2958168 h 2958168"/>
              <a:gd name="connsiteX5" fmla="*/ 0 w 10562072"/>
              <a:gd name="connsiteY5" fmla="*/ 2174065 h 2958168"/>
              <a:gd name="connsiteX6" fmla="*/ 1331 w 10562072"/>
              <a:gd name="connsiteY6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2161364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7"/>
              <a:gd name="connsiteY0" fmla="*/ 2791 h 2958168"/>
              <a:gd name="connsiteX1" fmla="*/ 10561655 w 10561657"/>
              <a:gd name="connsiteY1" fmla="*/ 0 h 2958168"/>
              <a:gd name="connsiteX2" fmla="*/ 10469943 w 10561657"/>
              <a:gd name="connsiteY2" fmla="*/ 668161 h 2958168"/>
              <a:gd name="connsiteX3" fmla="*/ 9288594 w 10561657"/>
              <a:gd name="connsiteY3" fmla="*/ 2153103 h 2958168"/>
              <a:gd name="connsiteX4" fmla="*/ 2317558 w 10561657"/>
              <a:gd name="connsiteY4" fmla="*/ 2159512 h 2958168"/>
              <a:gd name="connsiteX5" fmla="*/ 1180889 w 10561657"/>
              <a:gd name="connsiteY5" fmla="*/ 2958168 h 2958168"/>
              <a:gd name="connsiteX6" fmla="*/ 0 w 10561657"/>
              <a:gd name="connsiteY6" fmla="*/ 2174065 h 2958168"/>
              <a:gd name="connsiteX7" fmla="*/ 1331 w 10561657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68641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1655"/>
              <a:gd name="connsiteY0" fmla="*/ 2791 h 2958168"/>
              <a:gd name="connsiteX1" fmla="*/ 10561655 w 10561655"/>
              <a:gd name="connsiteY1" fmla="*/ 0 h 2958168"/>
              <a:gd name="connsiteX2" fmla="*/ 10196302 w 10561655"/>
              <a:gd name="connsiteY2" fmla="*/ 1183855 h 2958168"/>
              <a:gd name="connsiteX3" fmla="*/ 9288594 w 10561655"/>
              <a:gd name="connsiteY3" fmla="*/ 2153103 h 2958168"/>
              <a:gd name="connsiteX4" fmla="*/ 2317558 w 10561655"/>
              <a:gd name="connsiteY4" fmla="*/ 2159512 h 2958168"/>
              <a:gd name="connsiteX5" fmla="*/ 1180889 w 10561655"/>
              <a:gd name="connsiteY5" fmla="*/ 2958168 h 2958168"/>
              <a:gd name="connsiteX6" fmla="*/ 0 w 10561655"/>
              <a:gd name="connsiteY6" fmla="*/ 2174065 h 2958168"/>
              <a:gd name="connsiteX7" fmla="*/ 1331 w 10561655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072"/>
              <a:gd name="connsiteY0" fmla="*/ 2791 h 2958168"/>
              <a:gd name="connsiteX1" fmla="*/ 10561655 w 10562072"/>
              <a:gd name="connsiteY1" fmla="*/ 0 h 2958168"/>
              <a:gd name="connsiteX2" fmla="*/ 10561157 w 10562072"/>
              <a:gd name="connsiteY2" fmla="*/ 1476338 h 2958168"/>
              <a:gd name="connsiteX3" fmla="*/ 9288594 w 10562072"/>
              <a:gd name="connsiteY3" fmla="*/ 2153103 h 2958168"/>
              <a:gd name="connsiteX4" fmla="*/ 2317558 w 10562072"/>
              <a:gd name="connsiteY4" fmla="*/ 2159512 h 2958168"/>
              <a:gd name="connsiteX5" fmla="*/ 1180889 w 10562072"/>
              <a:gd name="connsiteY5" fmla="*/ 2958168 h 2958168"/>
              <a:gd name="connsiteX6" fmla="*/ 0 w 10562072"/>
              <a:gd name="connsiteY6" fmla="*/ 2174065 h 2958168"/>
              <a:gd name="connsiteX7" fmla="*/ 1331 w 10562072"/>
              <a:gd name="connsiteY7" fmla="*/ 2791 h 2958168"/>
              <a:gd name="connsiteX0" fmla="*/ 1331 w 10562411"/>
              <a:gd name="connsiteY0" fmla="*/ 2791 h 3881172"/>
              <a:gd name="connsiteX1" fmla="*/ 10561655 w 10562411"/>
              <a:gd name="connsiteY1" fmla="*/ 0 h 3881172"/>
              <a:gd name="connsiteX2" fmla="*/ 10561157 w 10562411"/>
              <a:gd name="connsiteY2" fmla="*/ 1476338 h 3881172"/>
              <a:gd name="connsiteX3" fmla="*/ 9288594 w 10562411"/>
              <a:gd name="connsiteY3" fmla="*/ 2153103 h 3881172"/>
              <a:gd name="connsiteX4" fmla="*/ 2317558 w 10562411"/>
              <a:gd name="connsiteY4" fmla="*/ 2159512 h 3881172"/>
              <a:gd name="connsiteX5" fmla="*/ 1180889 w 10562411"/>
              <a:gd name="connsiteY5" fmla="*/ 2958168 h 3881172"/>
              <a:gd name="connsiteX6" fmla="*/ 0 w 10562411"/>
              <a:gd name="connsiteY6" fmla="*/ 2174065 h 3881172"/>
              <a:gd name="connsiteX7" fmla="*/ 1331 w 10562411"/>
              <a:gd name="connsiteY7" fmla="*/ 2791 h 3881172"/>
              <a:gd name="connsiteX0" fmla="*/ 1331 w 10562411"/>
              <a:gd name="connsiteY0" fmla="*/ 2791 h 4143392"/>
              <a:gd name="connsiteX1" fmla="*/ 10561655 w 10562411"/>
              <a:gd name="connsiteY1" fmla="*/ 0 h 4143392"/>
              <a:gd name="connsiteX2" fmla="*/ 10561157 w 10562411"/>
              <a:gd name="connsiteY2" fmla="*/ 1476338 h 4143392"/>
              <a:gd name="connsiteX3" fmla="*/ 9288594 w 10562411"/>
              <a:gd name="connsiteY3" fmla="*/ 2153103 h 4143392"/>
              <a:gd name="connsiteX4" fmla="*/ 2317558 w 10562411"/>
              <a:gd name="connsiteY4" fmla="*/ 2159512 h 4143392"/>
              <a:gd name="connsiteX5" fmla="*/ 1180889 w 10562411"/>
              <a:gd name="connsiteY5" fmla="*/ 2958168 h 4143392"/>
              <a:gd name="connsiteX6" fmla="*/ 0 w 10562411"/>
              <a:gd name="connsiteY6" fmla="*/ 2174065 h 4143392"/>
              <a:gd name="connsiteX7" fmla="*/ 1331 w 10562411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336031 w 10580884"/>
              <a:gd name="connsiteY4" fmla="*/ 2159512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307067 w 10580884"/>
              <a:gd name="connsiteY3" fmla="*/ 2153103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884"/>
              <a:gd name="connsiteY0" fmla="*/ 2791 h 4143392"/>
              <a:gd name="connsiteX1" fmla="*/ 10580128 w 10580884"/>
              <a:gd name="connsiteY1" fmla="*/ 0 h 4143392"/>
              <a:gd name="connsiteX2" fmla="*/ 10579630 w 10580884"/>
              <a:gd name="connsiteY2" fmla="*/ 1476338 h 4143392"/>
              <a:gd name="connsiteX3" fmla="*/ 9013072 w 10580884"/>
              <a:gd name="connsiteY3" fmla="*/ 3716089 h 4143392"/>
              <a:gd name="connsiteX4" fmla="*/ 2283533 w 10580884"/>
              <a:gd name="connsiteY4" fmla="*/ 3711866 h 4143392"/>
              <a:gd name="connsiteX5" fmla="*/ 1199362 w 10580884"/>
              <a:gd name="connsiteY5" fmla="*/ 2958168 h 4143392"/>
              <a:gd name="connsiteX6" fmla="*/ 0 w 10580884"/>
              <a:gd name="connsiteY6" fmla="*/ 3726419 h 4143392"/>
              <a:gd name="connsiteX7" fmla="*/ 19804 w 10580884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4 w 10580641"/>
              <a:gd name="connsiteY2" fmla="*/ 3400831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625733"/>
              <a:gd name="connsiteX1" fmla="*/ 10580128 w 10580641"/>
              <a:gd name="connsiteY1" fmla="*/ 0 h 4625733"/>
              <a:gd name="connsiteX2" fmla="*/ 10559883 w 10580641"/>
              <a:gd name="connsiteY2" fmla="*/ 3953724 h 4625733"/>
              <a:gd name="connsiteX3" fmla="*/ 9013072 w 10580641"/>
              <a:gd name="connsiteY3" fmla="*/ 3716089 h 4625733"/>
              <a:gd name="connsiteX4" fmla="*/ 2283533 w 10580641"/>
              <a:gd name="connsiteY4" fmla="*/ 3711866 h 4625733"/>
              <a:gd name="connsiteX5" fmla="*/ 1199362 w 10580641"/>
              <a:gd name="connsiteY5" fmla="*/ 2958168 h 4625733"/>
              <a:gd name="connsiteX6" fmla="*/ 0 w 10580641"/>
              <a:gd name="connsiteY6" fmla="*/ 3726419 h 4625733"/>
              <a:gd name="connsiteX7" fmla="*/ 19804 w 10580641"/>
              <a:gd name="connsiteY7" fmla="*/ 2791 h 4625733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4143392"/>
              <a:gd name="connsiteX1" fmla="*/ 10580128 w 10580641"/>
              <a:gd name="connsiteY1" fmla="*/ 0 h 4143392"/>
              <a:gd name="connsiteX2" fmla="*/ 10559883 w 10580641"/>
              <a:gd name="connsiteY2" fmla="*/ 3953724 h 4143392"/>
              <a:gd name="connsiteX3" fmla="*/ 9013072 w 10580641"/>
              <a:gd name="connsiteY3" fmla="*/ 3716089 h 4143392"/>
              <a:gd name="connsiteX4" fmla="*/ 2283533 w 10580641"/>
              <a:gd name="connsiteY4" fmla="*/ 3711866 h 4143392"/>
              <a:gd name="connsiteX5" fmla="*/ 1199362 w 10580641"/>
              <a:gd name="connsiteY5" fmla="*/ 2958168 h 4143392"/>
              <a:gd name="connsiteX6" fmla="*/ 0 w 10580641"/>
              <a:gd name="connsiteY6" fmla="*/ 3726419 h 4143392"/>
              <a:gd name="connsiteX7" fmla="*/ 19804 w 10580641"/>
              <a:gd name="connsiteY7" fmla="*/ 2791 h 4143392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26419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79582 h 3953724"/>
              <a:gd name="connsiteX7" fmla="*/ 19804 w 10580641"/>
              <a:gd name="connsiteY7" fmla="*/ 2791 h 3953724"/>
              <a:gd name="connsiteX0" fmla="*/ 19804 w 10580641"/>
              <a:gd name="connsiteY0" fmla="*/ 2791 h 3953724"/>
              <a:gd name="connsiteX1" fmla="*/ 10580128 w 10580641"/>
              <a:gd name="connsiteY1" fmla="*/ 0 h 3953724"/>
              <a:gd name="connsiteX2" fmla="*/ 10559883 w 10580641"/>
              <a:gd name="connsiteY2" fmla="*/ 3953724 h 3953724"/>
              <a:gd name="connsiteX3" fmla="*/ 9013072 w 10580641"/>
              <a:gd name="connsiteY3" fmla="*/ 3716089 h 3953724"/>
              <a:gd name="connsiteX4" fmla="*/ 2283533 w 10580641"/>
              <a:gd name="connsiteY4" fmla="*/ 3711866 h 3953724"/>
              <a:gd name="connsiteX5" fmla="*/ 1199362 w 10580641"/>
              <a:gd name="connsiteY5" fmla="*/ 2958168 h 3953724"/>
              <a:gd name="connsiteX6" fmla="*/ 0 w 10580641"/>
              <a:gd name="connsiteY6" fmla="*/ 3737052 h 3953724"/>
              <a:gd name="connsiteX7" fmla="*/ 19804 w 10580641"/>
              <a:gd name="connsiteY7" fmla="*/ 2791 h 3953724"/>
              <a:gd name="connsiteX0" fmla="*/ 0 w 10581837"/>
              <a:gd name="connsiteY0" fmla="*/ 13424 h 3953724"/>
              <a:gd name="connsiteX1" fmla="*/ 10581324 w 10581837"/>
              <a:gd name="connsiteY1" fmla="*/ 0 h 3953724"/>
              <a:gd name="connsiteX2" fmla="*/ 10561079 w 10581837"/>
              <a:gd name="connsiteY2" fmla="*/ 3953724 h 3953724"/>
              <a:gd name="connsiteX3" fmla="*/ 9014268 w 10581837"/>
              <a:gd name="connsiteY3" fmla="*/ 3716089 h 3953724"/>
              <a:gd name="connsiteX4" fmla="*/ 2284729 w 10581837"/>
              <a:gd name="connsiteY4" fmla="*/ 3711866 h 3953724"/>
              <a:gd name="connsiteX5" fmla="*/ 1200558 w 10581837"/>
              <a:gd name="connsiteY5" fmla="*/ 2958168 h 3953724"/>
              <a:gd name="connsiteX6" fmla="*/ 1196 w 10581837"/>
              <a:gd name="connsiteY6" fmla="*/ 3737052 h 3953724"/>
              <a:gd name="connsiteX7" fmla="*/ 0 w 10581837"/>
              <a:gd name="connsiteY7" fmla="*/ 13424 h 3953724"/>
              <a:gd name="connsiteX0" fmla="*/ 0 w 10562333"/>
              <a:gd name="connsiteY0" fmla="*/ 24056 h 3964356"/>
              <a:gd name="connsiteX1" fmla="*/ 10549824 w 10562333"/>
              <a:gd name="connsiteY1" fmla="*/ 0 h 3964356"/>
              <a:gd name="connsiteX2" fmla="*/ 10561079 w 10562333"/>
              <a:gd name="connsiteY2" fmla="*/ 3964356 h 3964356"/>
              <a:gd name="connsiteX3" fmla="*/ 9014268 w 10562333"/>
              <a:gd name="connsiteY3" fmla="*/ 3726721 h 3964356"/>
              <a:gd name="connsiteX4" fmla="*/ 2284729 w 10562333"/>
              <a:gd name="connsiteY4" fmla="*/ 3722498 h 3964356"/>
              <a:gd name="connsiteX5" fmla="*/ 1200558 w 10562333"/>
              <a:gd name="connsiteY5" fmla="*/ 2968800 h 3964356"/>
              <a:gd name="connsiteX6" fmla="*/ 1196 w 10562333"/>
              <a:gd name="connsiteY6" fmla="*/ 3747684 h 3964356"/>
              <a:gd name="connsiteX7" fmla="*/ 0 w 10562333"/>
              <a:gd name="connsiteY7" fmla="*/ 24056 h 3964356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628158 h 4568458"/>
              <a:gd name="connsiteX1" fmla="*/ 10518325 w 10562333"/>
              <a:gd name="connsiteY1" fmla="*/ 582837 h 4568458"/>
              <a:gd name="connsiteX2" fmla="*/ 10561079 w 10562333"/>
              <a:gd name="connsiteY2" fmla="*/ 4568458 h 4568458"/>
              <a:gd name="connsiteX3" fmla="*/ 9014268 w 10562333"/>
              <a:gd name="connsiteY3" fmla="*/ 4330823 h 4568458"/>
              <a:gd name="connsiteX4" fmla="*/ 2284729 w 10562333"/>
              <a:gd name="connsiteY4" fmla="*/ 4326600 h 4568458"/>
              <a:gd name="connsiteX5" fmla="*/ 1200558 w 10562333"/>
              <a:gd name="connsiteY5" fmla="*/ 3572902 h 4568458"/>
              <a:gd name="connsiteX6" fmla="*/ 1196 w 10562333"/>
              <a:gd name="connsiteY6" fmla="*/ 4351786 h 4568458"/>
              <a:gd name="connsiteX7" fmla="*/ 0 w 10562333"/>
              <a:gd name="connsiteY7" fmla="*/ 628158 h 4568458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112921 h 4053221"/>
              <a:gd name="connsiteX1" fmla="*/ 10518325 w 10562333"/>
              <a:gd name="connsiteY1" fmla="*/ 67600 h 4053221"/>
              <a:gd name="connsiteX2" fmla="*/ 10561079 w 10562333"/>
              <a:gd name="connsiteY2" fmla="*/ 4053221 h 4053221"/>
              <a:gd name="connsiteX3" fmla="*/ 9014268 w 10562333"/>
              <a:gd name="connsiteY3" fmla="*/ 3815586 h 4053221"/>
              <a:gd name="connsiteX4" fmla="*/ 2284729 w 10562333"/>
              <a:gd name="connsiteY4" fmla="*/ 3811363 h 4053221"/>
              <a:gd name="connsiteX5" fmla="*/ 1200558 w 10562333"/>
              <a:gd name="connsiteY5" fmla="*/ 3057665 h 4053221"/>
              <a:gd name="connsiteX6" fmla="*/ 1196 w 10562333"/>
              <a:gd name="connsiteY6" fmla="*/ 3836549 h 4053221"/>
              <a:gd name="connsiteX7" fmla="*/ 0 w 10562333"/>
              <a:gd name="connsiteY7" fmla="*/ 112921 h 40532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1196 w 10562333"/>
              <a:gd name="connsiteY6" fmla="*/ 3768949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84729 w 10562333"/>
              <a:gd name="connsiteY4" fmla="*/ 3743763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14268 w 10562333"/>
              <a:gd name="connsiteY3" fmla="*/ 3747986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45321 h 3985621"/>
              <a:gd name="connsiteX1" fmla="*/ 10518325 w 10562333"/>
              <a:gd name="connsiteY1" fmla="*/ 0 h 3985621"/>
              <a:gd name="connsiteX2" fmla="*/ 10561079 w 10562333"/>
              <a:gd name="connsiteY2" fmla="*/ 3985621 h 3985621"/>
              <a:gd name="connsiteX3" fmla="*/ 9024769 w 10562333"/>
              <a:gd name="connsiteY3" fmla="*/ 3726721 h 3985621"/>
              <a:gd name="connsiteX4" fmla="*/ 2295230 w 10562333"/>
              <a:gd name="connsiteY4" fmla="*/ 3711865 h 3985621"/>
              <a:gd name="connsiteX5" fmla="*/ 1200558 w 10562333"/>
              <a:gd name="connsiteY5" fmla="*/ 2990065 h 3985621"/>
              <a:gd name="connsiteX6" fmla="*/ 0 w 10562333"/>
              <a:gd name="connsiteY6" fmla="*/ 3705154 h 3985621"/>
              <a:gd name="connsiteX7" fmla="*/ 0 w 10562333"/>
              <a:gd name="connsiteY7" fmla="*/ 45321 h 3985621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4689 h 3974989"/>
              <a:gd name="connsiteX1" fmla="*/ 10559884 w 10562333"/>
              <a:gd name="connsiteY1" fmla="*/ 0 h 3974989"/>
              <a:gd name="connsiteX2" fmla="*/ 10561079 w 10562333"/>
              <a:gd name="connsiteY2" fmla="*/ 3974989 h 3974989"/>
              <a:gd name="connsiteX3" fmla="*/ 9024769 w 10562333"/>
              <a:gd name="connsiteY3" fmla="*/ 3716089 h 3974989"/>
              <a:gd name="connsiteX4" fmla="*/ 2295230 w 10562333"/>
              <a:gd name="connsiteY4" fmla="*/ 3701233 h 3974989"/>
              <a:gd name="connsiteX5" fmla="*/ 1200558 w 10562333"/>
              <a:gd name="connsiteY5" fmla="*/ 2979433 h 3974989"/>
              <a:gd name="connsiteX6" fmla="*/ 0 w 10562333"/>
              <a:gd name="connsiteY6" fmla="*/ 3694522 h 3974989"/>
              <a:gd name="connsiteX7" fmla="*/ 0 w 10562333"/>
              <a:gd name="connsiteY7" fmla="*/ 34689 h 3974989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0 w 10562333"/>
              <a:gd name="connsiteY0" fmla="*/ 32735 h 4026198"/>
              <a:gd name="connsiteX1" fmla="*/ 10559884 w 10562333"/>
              <a:gd name="connsiteY1" fmla="*/ 51209 h 4026198"/>
              <a:gd name="connsiteX2" fmla="*/ 10561079 w 10562333"/>
              <a:gd name="connsiteY2" fmla="*/ 4026198 h 4026198"/>
              <a:gd name="connsiteX3" fmla="*/ 9024769 w 10562333"/>
              <a:gd name="connsiteY3" fmla="*/ 3767298 h 4026198"/>
              <a:gd name="connsiteX4" fmla="*/ 2295230 w 10562333"/>
              <a:gd name="connsiteY4" fmla="*/ 3752442 h 4026198"/>
              <a:gd name="connsiteX5" fmla="*/ 1200558 w 10562333"/>
              <a:gd name="connsiteY5" fmla="*/ 3030642 h 4026198"/>
              <a:gd name="connsiteX6" fmla="*/ 0 w 10562333"/>
              <a:gd name="connsiteY6" fmla="*/ 3745731 h 4026198"/>
              <a:gd name="connsiteX7" fmla="*/ 0 w 10562333"/>
              <a:gd name="connsiteY7" fmla="*/ 32735 h 4026198"/>
              <a:gd name="connsiteX0" fmla="*/ 10559884 w 10650182"/>
              <a:gd name="connsiteY0" fmla="*/ 18474 h 3993463"/>
              <a:gd name="connsiteX1" fmla="*/ 10561079 w 10650182"/>
              <a:gd name="connsiteY1" fmla="*/ 3993463 h 3993463"/>
              <a:gd name="connsiteX2" fmla="*/ 9024769 w 10650182"/>
              <a:gd name="connsiteY2" fmla="*/ 3734563 h 3993463"/>
              <a:gd name="connsiteX3" fmla="*/ 2295230 w 10650182"/>
              <a:gd name="connsiteY3" fmla="*/ 3719707 h 3993463"/>
              <a:gd name="connsiteX4" fmla="*/ 1200558 w 10650182"/>
              <a:gd name="connsiteY4" fmla="*/ 2997907 h 3993463"/>
              <a:gd name="connsiteX5" fmla="*/ 0 w 10650182"/>
              <a:gd name="connsiteY5" fmla="*/ 3712996 h 3993463"/>
              <a:gd name="connsiteX6" fmla="*/ 0 w 10650182"/>
              <a:gd name="connsiteY6" fmla="*/ 0 h 3993463"/>
              <a:gd name="connsiteX7" fmla="*/ 10650182 w 10650182"/>
              <a:gd name="connsiteY7" fmla="*/ 109914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10285606 w 10562333"/>
              <a:gd name="connsiteY7" fmla="*/ 418258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7" fmla="*/ 9991611 w 10562333"/>
              <a:gd name="connsiteY7" fmla="*/ 56751 h 3993463"/>
              <a:gd name="connsiteX0" fmla="*/ 10559884 w 10562333"/>
              <a:gd name="connsiteY0" fmla="*/ 18474 h 3993463"/>
              <a:gd name="connsiteX1" fmla="*/ 10561079 w 10562333"/>
              <a:gd name="connsiteY1" fmla="*/ 3993463 h 3993463"/>
              <a:gd name="connsiteX2" fmla="*/ 9024769 w 10562333"/>
              <a:gd name="connsiteY2" fmla="*/ 3734563 h 3993463"/>
              <a:gd name="connsiteX3" fmla="*/ 2295230 w 10562333"/>
              <a:gd name="connsiteY3" fmla="*/ 3719707 h 3993463"/>
              <a:gd name="connsiteX4" fmla="*/ 1200558 w 10562333"/>
              <a:gd name="connsiteY4" fmla="*/ 2997907 h 3993463"/>
              <a:gd name="connsiteX5" fmla="*/ 0 w 10562333"/>
              <a:gd name="connsiteY5" fmla="*/ 3712996 h 3993463"/>
              <a:gd name="connsiteX6" fmla="*/ 0 w 10562333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0 w 10562846"/>
              <a:gd name="connsiteY5" fmla="*/ 3712996 h 3993463"/>
              <a:gd name="connsiteX6" fmla="*/ 0 w 10562846"/>
              <a:gd name="connsiteY6" fmla="*/ 0 h 3993463"/>
              <a:gd name="connsiteX0" fmla="*/ 10562333 w 10562846"/>
              <a:gd name="connsiteY0" fmla="*/ 0 h 3993463"/>
              <a:gd name="connsiteX1" fmla="*/ 10561079 w 10562846"/>
              <a:gd name="connsiteY1" fmla="*/ 3993463 h 3993463"/>
              <a:gd name="connsiteX2" fmla="*/ 9024769 w 10562846"/>
              <a:gd name="connsiteY2" fmla="*/ 3734563 h 3993463"/>
              <a:gd name="connsiteX3" fmla="*/ 2295230 w 10562846"/>
              <a:gd name="connsiteY3" fmla="*/ 3719707 h 3993463"/>
              <a:gd name="connsiteX4" fmla="*/ 1200558 w 10562846"/>
              <a:gd name="connsiteY4" fmla="*/ 2997907 h 3993463"/>
              <a:gd name="connsiteX5" fmla="*/ 2449 w 10562846"/>
              <a:gd name="connsiteY5" fmla="*/ 3734261 h 3993463"/>
              <a:gd name="connsiteX6" fmla="*/ 0 w 10562846"/>
              <a:gd name="connsiteY6" fmla="*/ 0 h 3993463"/>
              <a:gd name="connsiteX0" fmla="*/ 10562334 w 10562847"/>
              <a:gd name="connsiteY0" fmla="*/ 1074357 h 5067820"/>
              <a:gd name="connsiteX1" fmla="*/ 10561080 w 10562847"/>
              <a:gd name="connsiteY1" fmla="*/ 5067820 h 5067820"/>
              <a:gd name="connsiteX2" fmla="*/ 9024770 w 10562847"/>
              <a:gd name="connsiteY2" fmla="*/ 4808920 h 5067820"/>
              <a:gd name="connsiteX3" fmla="*/ 2295231 w 10562847"/>
              <a:gd name="connsiteY3" fmla="*/ 4794064 h 5067820"/>
              <a:gd name="connsiteX4" fmla="*/ 1200559 w 10562847"/>
              <a:gd name="connsiteY4" fmla="*/ 4072264 h 5067820"/>
              <a:gd name="connsiteX5" fmla="*/ 2450 w 10562847"/>
              <a:gd name="connsiteY5" fmla="*/ 4808618 h 5067820"/>
              <a:gd name="connsiteX6" fmla="*/ 0 w 10562847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2450 w 10563360"/>
              <a:gd name="connsiteY5" fmla="*/ 4808618 h 5067820"/>
              <a:gd name="connsiteX6" fmla="*/ 0 w 10563360"/>
              <a:gd name="connsiteY6" fmla="*/ 0 h 5067820"/>
              <a:gd name="connsiteX0" fmla="*/ 10562847 w 10563360"/>
              <a:gd name="connsiteY0" fmla="*/ 0 h 5067820"/>
              <a:gd name="connsiteX1" fmla="*/ 10561080 w 10563360"/>
              <a:gd name="connsiteY1" fmla="*/ 5067820 h 5067820"/>
              <a:gd name="connsiteX2" fmla="*/ 9024770 w 10563360"/>
              <a:gd name="connsiteY2" fmla="*/ 4808920 h 5067820"/>
              <a:gd name="connsiteX3" fmla="*/ 2295231 w 10563360"/>
              <a:gd name="connsiteY3" fmla="*/ 4794064 h 5067820"/>
              <a:gd name="connsiteX4" fmla="*/ 1200559 w 10563360"/>
              <a:gd name="connsiteY4" fmla="*/ 4072264 h 5067820"/>
              <a:gd name="connsiteX5" fmla="*/ 514 w 10563360"/>
              <a:gd name="connsiteY5" fmla="*/ 4819150 h 5067820"/>
              <a:gd name="connsiteX6" fmla="*/ 0 w 10563360"/>
              <a:gd name="connsiteY6" fmla="*/ 0 h 5067820"/>
              <a:gd name="connsiteX0" fmla="*/ 10562847 w 10564614"/>
              <a:gd name="connsiteY0" fmla="*/ 0 h 5152083"/>
              <a:gd name="connsiteX1" fmla="*/ 10563360 w 10564614"/>
              <a:gd name="connsiteY1" fmla="*/ 5152083 h 5152083"/>
              <a:gd name="connsiteX2" fmla="*/ 9024770 w 10564614"/>
              <a:gd name="connsiteY2" fmla="*/ 4808920 h 5152083"/>
              <a:gd name="connsiteX3" fmla="*/ 2295231 w 10564614"/>
              <a:gd name="connsiteY3" fmla="*/ 4794064 h 5152083"/>
              <a:gd name="connsiteX4" fmla="*/ 1200559 w 10564614"/>
              <a:gd name="connsiteY4" fmla="*/ 4072264 h 5152083"/>
              <a:gd name="connsiteX5" fmla="*/ 514 w 10564614"/>
              <a:gd name="connsiteY5" fmla="*/ 4819150 h 5152083"/>
              <a:gd name="connsiteX6" fmla="*/ 0 w 10564614"/>
              <a:gd name="connsiteY6" fmla="*/ 0 h 5152083"/>
              <a:gd name="connsiteX0" fmla="*/ 10562847 w 10564614"/>
              <a:gd name="connsiteY0" fmla="*/ 0 h 5183681"/>
              <a:gd name="connsiteX1" fmla="*/ 10563360 w 10564614"/>
              <a:gd name="connsiteY1" fmla="*/ 5183681 h 5183681"/>
              <a:gd name="connsiteX2" fmla="*/ 9024770 w 10564614"/>
              <a:gd name="connsiteY2" fmla="*/ 4808920 h 5183681"/>
              <a:gd name="connsiteX3" fmla="*/ 2295231 w 10564614"/>
              <a:gd name="connsiteY3" fmla="*/ 4794064 h 5183681"/>
              <a:gd name="connsiteX4" fmla="*/ 1200559 w 10564614"/>
              <a:gd name="connsiteY4" fmla="*/ 4072264 h 5183681"/>
              <a:gd name="connsiteX5" fmla="*/ 514 w 10564614"/>
              <a:gd name="connsiteY5" fmla="*/ 4819150 h 5183681"/>
              <a:gd name="connsiteX6" fmla="*/ 0 w 10564614"/>
              <a:gd name="connsiteY6" fmla="*/ 0 h 518368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819150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87552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  <a:gd name="connsiteX0" fmla="*/ 10562847 w 10564614"/>
              <a:gd name="connsiteY0" fmla="*/ 0 h 5657661"/>
              <a:gd name="connsiteX1" fmla="*/ 10563360 w 10564614"/>
              <a:gd name="connsiteY1" fmla="*/ 5657661 h 5657661"/>
              <a:gd name="connsiteX2" fmla="*/ 9024770 w 10564614"/>
              <a:gd name="connsiteY2" fmla="*/ 4808920 h 5657661"/>
              <a:gd name="connsiteX3" fmla="*/ 2295231 w 10564614"/>
              <a:gd name="connsiteY3" fmla="*/ 4794064 h 5657661"/>
              <a:gd name="connsiteX4" fmla="*/ 1200559 w 10564614"/>
              <a:gd name="connsiteY4" fmla="*/ 4072264 h 5657661"/>
              <a:gd name="connsiteX5" fmla="*/ 514 w 10564614"/>
              <a:gd name="connsiteY5" fmla="*/ 4798085 h 5657661"/>
              <a:gd name="connsiteX6" fmla="*/ 0 w 10564614"/>
              <a:gd name="connsiteY6" fmla="*/ 0 h 56576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564614" h="5657661">
                <a:moveTo>
                  <a:pt x="10562847" y="0"/>
                </a:moveTo>
                <a:cubicBezTo>
                  <a:pt x="10563360" y="67600"/>
                  <a:pt x="10564614" y="5614246"/>
                  <a:pt x="10563360" y="5657661"/>
                </a:cubicBezTo>
                <a:cubicBezTo>
                  <a:pt x="10190941" y="4920324"/>
                  <a:pt x="9462356" y="4792975"/>
                  <a:pt x="9024770" y="4808920"/>
                </a:cubicBezTo>
                <a:lnTo>
                  <a:pt x="2295231" y="4794064"/>
                </a:lnTo>
                <a:cubicBezTo>
                  <a:pt x="1854598" y="4794612"/>
                  <a:pt x="1423669" y="4544310"/>
                  <a:pt x="1200559" y="4072264"/>
                </a:cubicBezTo>
                <a:cubicBezTo>
                  <a:pt x="965203" y="4750718"/>
                  <a:pt x="279154" y="4797207"/>
                  <a:pt x="514" y="4798085"/>
                </a:cubicBezTo>
                <a:cubicBezTo>
                  <a:pt x="2581" y="4762572"/>
                  <a:pt x="1272" y="95582"/>
                  <a:pt x="0" y="0"/>
                </a:cubicBezTo>
              </a:path>
            </a:pathLst>
          </a:custGeom>
          <a:gradFill flip="none" rotWithShape="1">
            <a:gsLst>
              <a:gs pos="0">
                <a:srgbClr val="005B7C"/>
              </a:gs>
              <a:gs pos="50000">
                <a:srgbClr val="0085B3"/>
              </a:gs>
              <a:gs pos="100000">
                <a:srgbClr val="00A0D6"/>
              </a:gs>
            </a:gsLst>
            <a:lin ang="18900000" scaled="1"/>
            <a:tileRect/>
          </a:gradFill>
          <a:ln w="12700" cmpd="sng" algn="ctr">
            <a:noFill/>
            <a:miter lim="800000"/>
            <a:headEnd/>
            <a:tailEnd/>
          </a:ln>
          <a:effectLst>
            <a:outerShdw blurRad="41275" dist="38100" dir="5400000" algn="t" rotWithShape="0">
              <a:schemeClr val="bg1">
                <a:lumMod val="65000"/>
                <a:alpha val="25000"/>
              </a:schemeClr>
            </a:outerShdw>
          </a:effectLst>
        </p:spPr>
        <p:txBody>
          <a:bodyPr wrap="square" lIns="33059" tIns="42976" rIns="33059" bIns="42976" rtlCol="0" anchor="ctr"/>
          <a:lstStyle/>
          <a:p>
            <a:pPr algn="ctr" defTabSz="957756" fontAlgn="auto">
              <a:spcBef>
                <a:spcPts val="0"/>
              </a:spcBef>
              <a:spcAft>
                <a:spcPts val="0"/>
              </a:spcAft>
            </a:pPr>
            <a:endParaRPr lang="en-US" sz="1000" b="0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pic>
        <p:nvPicPr>
          <p:cNvPr id="9" name="Picture 104"/>
          <p:cNvPicPr>
            <a:picLocks noChangeArrowheads="1"/>
          </p:cNvPicPr>
          <p:nvPr>
            <p:custDataLst>
              <p:tags r:id="rId10"/>
            </p:custDataLst>
          </p:nvPr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5037295" y="1125048"/>
            <a:ext cx="3474065" cy="313227"/>
          </a:xfrm>
          <a:prstGeom prst="rect">
            <a:avLst/>
          </a:prstGeom>
          <a:noFill/>
        </p:spPr>
      </p:pic>
      <p:pic>
        <p:nvPicPr>
          <p:cNvPr id="16" name="Picture 3">
            <a:hlinkClick r:id="rId20"/>
          </p:cNvPr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email"/>
          <a:srcRect/>
          <a:stretch>
            <a:fillRect/>
          </a:stretch>
        </p:blipFill>
        <p:spPr bwMode="auto">
          <a:xfrm>
            <a:off x="7328541" y="5932547"/>
            <a:ext cx="256821" cy="263770"/>
          </a:xfrm>
          <a:prstGeom prst="rect">
            <a:avLst/>
          </a:prstGeom>
          <a:noFill/>
        </p:spPr>
      </p:pic>
      <p:pic>
        <p:nvPicPr>
          <p:cNvPr id="17" name="Picture 4">
            <a:hlinkClick r:id="rId22"/>
          </p:cNvPr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23" cstate="email"/>
          <a:srcRect/>
          <a:stretch>
            <a:fillRect/>
          </a:stretch>
        </p:blipFill>
        <p:spPr bwMode="auto">
          <a:xfrm>
            <a:off x="7638153" y="5932547"/>
            <a:ext cx="259674" cy="266700"/>
          </a:xfrm>
          <a:prstGeom prst="rect">
            <a:avLst/>
          </a:prstGeom>
          <a:noFill/>
        </p:spPr>
      </p:pic>
      <p:pic>
        <p:nvPicPr>
          <p:cNvPr id="18" name="Picture 5">
            <a:hlinkClick r:id="rId24"/>
          </p:cNvPr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5" cstate="email"/>
          <a:srcRect/>
          <a:stretch>
            <a:fillRect/>
          </a:stretch>
        </p:blipFill>
        <p:spPr bwMode="auto">
          <a:xfrm>
            <a:off x="8218819" y="5932547"/>
            <a:ext cx="259674" cy="266700"/>
          </a:xfrm>
          <a:prstGeom prst="rect">
            <a:avLst/>
          </a:prstGeom>
          <a:noFill/>
        </p:spPr>
      </p:pic>
      <p:pic>
        <p:nvPicPr>
          <p:cNvPr id="19" name="Picture 6">
            <a:hlinkClick r:id="rId26"/>
          </p:cNvPr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7" cstate="email"/>
          <a:srcRect/>
          <a:stretch>
            <a:fillRect/>
          </a:stretch>
        </p:blipFill>
        <p:spPr bwMode="auto">
          <a:xfrm>
            <a:off x="8531283" y="5932547"/>
            <a:ext cx="259674" cy="266700"/>
          </a:xfrm>
          <a:prstGeom prst="rect">
            <a:avLst/>
          </a:prstGeom>
          <a:noFill/>
        </p:spPr>
      </p:pic>
      <p:pic>
        <p:nvPicPr>
          <p:cNvPr id="20" name="Image 22">
            <a:hlinkClick r:id="rId28"/>
          </p:cNvPr>
          <p:cNvPicPr preferRelativeResize="0">
            <a:picLocks/>
          </p:cNvPicPr>
          <p:nvPr>
            <p:custDataLst>
              <p:tags r:id="rId15"/>
            </p:custDataLst>
          </p:nvPr>
        </p:nvPicPr>
        <p:blipFill>
          <a:blip r:embed="rId29" cstate="email"/>
          <a:srcRect l="4793" t="6316" r="5718" b="7969"/>
          <a:stretch>
            <a:fillRect/>
          </a:stretch>
        </p:blipFill>
        <p:spPr>
          <a:xfrm>
            <a:off x="7950617" y="5932548"/>
            <a:ext cx="215411" cy="238125"/>
          </a:xfrm>
          <a:prstGeom prst="roundRect">
            <a:avLst/>
          </a:prstGeom>
          <a:effectLst>
            <a:outerShdw blurRad="38100" dist="25400" dir="5400000" sx="98000" sy="98000" algn="t" rotWithShape="0">
              <a:schemeClr val="tx2">
                <a:alpha val="51000"/>
              </a:schemeClr>
            </a:outerShdw>
          </a:effectLst>
        </p:spPr>
      </p:pic>
      <p:pic>
        <p:nvPicPr>
          <p:cNvPr id="14" name="Picture 13"/>
          <p:cNvPicPr>
            <a:picLocks noChangeAspect="1"/>
          </p:cNvPicPr>
          <p:nvPr>
            <p:custDataLst>
              <p:tags r:id="rId16"/>
            </p:custDataLst>
          </p:nvPr>
        </p:nvPicPr>
        <p:blipFill>
          <a:blip r:embed="rId30" cstate="print"/>
          <a:stretch>
            <a:fillRect/>
          </a:stretch>
        </p:blipFill>
        <p:spPr>
          <a:xfrm>
            <a:off x="683890" y="968918"/>
            <a:ext cx="2771824" cy="694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063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0" r:id="rId1"/>
    <p:sldLayoutId id="2147483921" r:id="rId2"/>
    <p:sldLayoutId id="2147483922" r:id="rId3"/>
    <p:sldLayoutId id="2147483923" r:id="rId4"/>
    <p:sldLayoutId id="2147483924" r:id="rId5"/>
  </p:sldLayoutIdLst>
  <p:hf hdr="0"/>
  <p:txStyles>
    <p:titleStyle>
      <a:lvl1pPr algn="ctr" defTabSz="839694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4885" indent="-314885" algn="l" defTabSz="839694" rtl="0" eaLnBrk="1" latinLnBrk="0" hangingPunct="1">
        <a:spcBef>
          <a:spcPct val="20000"/>
        </a:spcBef>
        <a:buFont typeface="Arial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82251" indent="-262404" algn="l" defTabSz="839694" rtl="0" eaLnBrk="1" latinLnBrk="0" hangingPunct="1">
        <a:spcBef>
          <a:spcPct val="20000"/>
        </a:spcBef>
        <a:buFont typeface="Arial" pitchFamily="34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4961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469464" indent="-209923" algn="l" defTabSz="839694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89310" indent="-209923" algn="l" defTabSz="839694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0915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29004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48851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68697" indent="-209923" algn="l" defTabSz="839694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1984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3969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59540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67938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09923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19081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38927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58774" algn="l" defTabSz="839694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17" descr="husiegel_bw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34325" y="260350"/>
            <a:ext cx="968375" cy="973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2" name="Rectangle 2"/>
          <p:cNvSpPr>
            <a:spLocks noChangeArrowheads="1"/>
          </p:cNvSpPr>
          <p:nvPr/>
        </p:nvSpPr>
        <p:spPr bwMode="ltGray">
          <a:xfrm>
            <a:off x="417513" y="1098550"/>
            <a:ext cx="438150" cy="474663"/>
          </a:xfrm>
          <a:prstGeom prst="rect">
            <a:avLst/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solidFill>
                <a:srgbClr val="000000"/>
              </a:solidFill>
            </a:endParaRPr>
          </a:p>
        </p:txBody>
      </p:sp>
      <p:sp>
        <p:nvSpPr>
          <p:cNvPr id="5123" name="Rectangle 3"/>
          <p:cNvSpPr>
            <a:spLocks noChangeArrowheads="1"/>
          </p:cNvSpPr>
          <p:nvPr/>
        </p:nvSpPr>
        <p:spPr bwMode="ltGray">
          <a:xfrm>
            <a:off x="800100" y="1098550"/>
            <a:ext cx="328613" cy="474663"/>
          </a:xfrm>
          <a:prstGeom prst="rect">
            <a:avLst/>
          </a:prstGeom>
          <a:gradFill rotWithShape="0">
            <a:gsLst>
              <a:gs pos="0">
                <a:schemeClr val="accent2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solidFill>
                <a:srgbClr val="000000"/>
              </a:solidFill>
            </a:endParaRPr>
          </a:p>
        </p:txBody>
      </p:sp>
      <p:sp>
        <p:nvSpPr>
          <p:cNvPr id="5124" name="Rectangle 4"/>
          <p:cNvSpPr>
            <a:spLocks noChangeArrowheads="1"/>
          </p:cNvSpPr>
          <p:nvPr/>
        </p:nvSpPr>
        <p:spPr bwMode="ltGray">
          <a:xfrm>
            <a:off x="541338" y="1520825"/>
            <a:ext cx="422275" cy="474663"/>
          </a:xfrm>
          <a:prstGeom prst="rect">
            <a:avLst/>
          </a:prstGeom>
          <a:solidFill>
            <a:schemeClr val="folHlink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solidFill>
                <a:srgbClr val="000000"/>
              </a:solidFill>
            </a:endParaRPr>
          </a:p>
        </p:txBody>
      </p:sp>
      <p:sp>
        <p:nvSpPr>
          <p:cNvPr id="5125" name="Rectangle 5"/>
          <p:cNvSpPr>
            <a:spLocks noChangeArrowheads="1"/>
          </p:cNvSpPr>
          <p:nvPr/>
        </p:nvSpPr>
        <p:spPr bwMode="ltGray">
          <a:xfrm>
            <a:off x="911225" y="1520825"/>
            <a:ext cx="368300" cy="474663"/>
          </a:xfrm>
          <a:prstGeom prst="rect">
            <a:avLst/>
          </a:prstGeom>
          <a:gradFill rotWithShape="0">
            <a:gsLst>
              <a:gs pos="0">
                <a:schemeClr val="folHlink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solidFill>
                <a:srgbClr val="000000"/>
              </a:solidFill>
            </a:endParaRPr>
          </a:p>
        </p:txBody>
      </p:sp>
      <p:sp>
        <p:nvSpPr>
          <p:cNvPr id="5126" name="Rectangle 6"/>
          <p:cNvSpPr>
            <a:spLocks noChangeArrowheads="1"/>
          </p:cNvSpPr>
          <p:nvPr/>
        </p:nvSpPr>
        <p:spPr bwMode="ltGray">
          <a:xfrm>
            <a:off x="127000" y="1447800"/>
            <a:ext cx="560388" cy="422275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hlink"/>
              </a:gs>
            </a:gsLst>
            <a:lin ang="1890000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solidFill>
                <a:srgbClr val="000000"/>
              </a:solidFill>
            </a:endParaRPr>
          </a:p>
        </p:txBody>
      </p:sp>
      <p:sp>
        <p:nvSpPr>
          <p:cNvPr id="5127" name="Rectangle 7"/>
          <p:cNvSpPr>
            <a:spLocks noChangeArrowheads="1"/>
          </p:cNvSpPr>
          <p:nvPr/>
        </p:nvSpPr>
        <p:spPr bwMode="gray">
          <a:xfrm>
            <a:off x="762000" y="990600"/>
            <a:ext cx="31750" cy="1052513"/>
          </a:xfrm>
          <a:prstGeom prst="rect">
            <a:avLst/>
          </a:prstGeom>
          <a:solidFill>
            <a:schemeClr val="bg2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solidFill>
                <a:srgbClr val="000000"/>
              </a:solidFill>
            </a:endParaRPr>
          </a:p>
        </p:txBody>
      </p:sp>
      <p:sp>
        <p:nvSpPr>
          <p:cNvPr id="5128" name="Rectangle 8"/>
          <p:cNvSpPr>
            <a:spLocks noChangeArrowheads="1"/>
          </p:cNvSpPr>
          <p:nvPr/>
        </p:nvSpPr>
        <p:spPr bwMode="gray">
          <a:xfrm>
            <a:off x="442913" y="1781175"/>
            <a:ext cx="8226425" cy="31750"/>
          </a:xfrm>
          <a:prstGeom prst="rect">
            <a:avLst/>
          </a:prstGeom>
          <a:gradFill rotWithShape="0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solidFill>
                <a:srgbClr val="000000"/>
              </a:solidFill>
            </a:endParaRPr>
          </a:p>
        </p:txBody>
      </p:sp>
      <p:sp>
        <p:nvSpPr>
          <p:cNvPr id="2058" name="Rectangle 9"/>
          <p:cNvSpPr>
            <a:spLocks noGrp="1" noChangeArrowheads="1"/>
          </p:cNvSpPr>
          <p:nvPr>
            <p:ph type="title"/>
          </p:nvPr>
        </p:nvSpPr>
        <p:spPr bwMode="auto">
          <a:xfrm>
            <a:off x="1150938" y="617538"/>
            <a:ext cx="7793037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as Titelformat zu bearbeiten</a:t>
            </a:r>
          </a:p>
        </p:txBody>
      </p:sp>
      <p:sp>
        <p:nvSpPr>
          <p:cNvPr id="2059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1182688" y="2017713"/>
            <a:ext cx="77724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Klicken Sie, um die Formate des Vorlagentextes zu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5131" name="Rectangle 1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553200"/>
            <a:ext cx="48768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400" b="0">
                <a:cs typeface="+mn-cs"/>
              </a:defRPr>
            </a:lvl1pPr>
          </a:lstStyle>
          <a:p>
            <a:pPr>
              <a:defRPr/>
            </a:pPr>
            <a:endParaRPr lang="de-DE">
              <a:solidFill>
                <a:srgbClr val="000000"/>
              </a:solidFill>
            </a:endParaRPr>
          </a:p>
        </p:txBody>
      </p:sp>
      <p:sp>
        <p:nvSpPr>
          <p:cNvPr id="5133" name="Rectangle 1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781800" y="6553200"/>
            <a:ext cx="19050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400" b="0">
                <a:cs typeface="+mn-cs"/>
              </a:defRPr>
            </a:lvl1pPr>
          </a:lstStyle>
          <a:p>
            <a:pPr>
              <a:defRPr/>
            </a:pPr>
            <a:fld id="{605D038A-4EDF-46EB-892A-49831A64BE43}" type="slidenum">
              <a:rPr lang="de-DE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de-DE">
              <a:solidFill>
                <a:srgbClr val="000000"/>
              </a:solidFill>
            </a:endParaRPr>
          </a:p>
        </p:txBody>
      </p:sp>
      <p:sp>
        <p:nvSpPr>
          <p:cNvPr id="5135" name="Rectangle 15"/>
          <p:cNvSpPr>
            <a:spLocks noChangeArrowheads="1"/>
          </p:cNvSpPr>
          <p:nvPr userDrawn="1"/>
        </p:nvSpPr>
        <p:spPr bwMode="gray">
          <a:xfrm>
            <a:off x="442913" y="6400800"/>
            <a:ext cx="8226425" cy="31750"/>
          </a:xfrm>
          <a:prstGeom prst="rect">
            <a:avLst/>
          </a:prstGeom>
          <a:gradFill rotWithShape="0">
            <a:gsLst>
              <a:gs pos="0">
                <a:schemeClr val="bg1"/>
              </a:gs>
              <a:gs pos="100000">
                <a:schemeClr val="bg2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kumimoji="1" lang="de-DE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4439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6" r:id="rId1"/>
    <p:sldLayoutId id="2147483927" r:id="rId2"/>
    <p:sldLayoutId id="2147483928" r:id="rId3"/>
    <p:sldLayoutId id="2147483929" r:id="rId4"/>
    <p:sldLayoutId id="2147483930" r:id="rId5"/>
    <p:sldLayoutId id="2147483931" r:id="rId6"/>
    <p:sldLayoutId id="2147483932" r:id="rId7"/>
    <p:sldLayoutId id="2147483933" r:id="rId8"/>
    <p:sldLayoutId id="2147483934" r:id="rId9"/>
    <p:sldLayoutId id="2147483935" r:id="rId10"/>
    <p:sldLayoutId id="2147483936" r:id="rId11"/>
    <p:sldLayoutId id="2147483937" r:id="rId12"/>
  </p:sldLayoutIdLst>
  <p:transition>
    <p:strips dir="rd"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Tahom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60000"/>
        <a:buFont typeface="Wingdings" pitchFamily="2" charset="2"/>
        <a:buChar char="n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SzPct val="55000"/>
        <a:buFont typeface="Wingdings" pitchFamily="2" charset="2"/>
        <a:buChar char="n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SzPct val="50000"/>
        <a:buFont typeface="Wingdings" pitchFamily="2" charset="2"/>
        <a:buChar char="n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55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accent1"/>
        </a:buClr>
        <a:buSzPct val="50000"/>
        <a:buFont typeface="Wingdings" pitchFamily="2" charset="2"/>
        <a:buChar char="n"/>
        <a:defRPr sz="2000"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6656FBD9-2CC4-4306-8A1F-E92E7A26B4E2}" type="datetimeFigureOut">
              <a:rPr lang="de-DE" b="0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25.08.2015</a:t>
            </a:fld>
            <a:endParaRPr lang="de-DE" b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de-DE" b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52800758-78F9-4928-863C-2FBBD21F12CE}" type="slidenum">
              <a:rPr lang="de-DE" b="0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lang="de-DE" b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0187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9" r:id="rId1"/>
    <p:sldLayoutId id="2147483940" r:id="rId2"/>
    <p:sldLayoutId id="2147483941" r:id="rId3"/>
    <p:sldLayoutId id="2147483942" r:id="rId4"/>
    <p:sldLayoutId id="2147483943" r:id="rId5"/>
    <p:sldLayoutId id="2147483944" r:id="rId6"/>
    <p:sldLayoutId id="2147483945" r:id="rId7"/>
    <p:sldLayoutId id="2147483946" r:id="rId8"/>
    <p:sldLayoutId id="2147483947" r:id="rId9"/>
    <p:sldLayoutId id="2147483948" r:id="rId10"/>
    <p:sldLayoutId id="214748394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5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" name="Picture 20"/>
          <p:cNvPicPr>
            <a:picLocks noChangeAspect="1"/>
          </p:cNvPicPr>
          <p:nvPr/>
        </p:nvPicPr>
        <p:blipFill>
          <a:blip r:embed="rId17" cstate="print"/>
          <a:stretch>
            <a:fillRect/>
          </a:stretch>
        </p:blipFill>
        <p:spPr>
          <a:xfrm>
            <a:off x="146741" y="6443186"/>
            <a:ext cx="1279527" cy="320682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" y="1"/>
            <a:ext cx="9143999" cy="1002135"/>
          </a:xfrm>
          <a:prstGeom prst="rect">
            <a:avLst/>
          </a:prstGeom>
        </p:spPr>
        <p:txBody>
          <a:bodyPr vert="horz" lIns="297529" tIns="33059" rIns="165294" bIns="33059" rtlCol="0" anchor="ctr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9" name="Freeform 4"/>
          <p:cNvSpPr>
            <a:spLocks/>
          </p:cNvSpPr>
          <p:nvPr/>
        </p:nvSpPr>
        <p:spPr bwMode="auto">
          <a:xfrm>
            <a:off x="2" y="676402"/>
            <a:ext cx="9143999" cy="728122"/>
          </a:xfrm>
          <a:custGeom>
            <a:avLst/>
            <a:gdLst/>
            <a:ahLst/>
            <a:cxnLst>
              <a:cxn ang="0">
                <a:pos x="2965" y="93"/>
              </a:cxn>
              <a:cxn ang="0">
                <a:pos x="303" y="93"/>
              </a:cxn>
              <a:cxn ang="0">
                <a:pos x="151" y="187"/>
              </a:cxn>
              <a:cxn ang="0">
                <a:pos x="0" y="93"/>
              </a:cxn>
              <a:cxn ang="0">
                <a:pos x="0" y="112"/>
              </a:cxn>
              <a:cxn ang="0">
                <a:pos x="151" y="205"/>
              </a:cxn>
              <a:cxn ang="0">
                <a:pos x="303" y="112"/>
              </a:cxn>
              <a:cxn ang="0">
                <a:pos x="2965" y="112"/>
              </a:cxn>
              <a:cxn ang="0">
                <a:pos x="3118" y="19"/>
              </a:cxn>
              <a:cxn ang="0">
                <a:pos x="3118" y="0"/>
              </a:cxn>
              <a:cxn ang="0">
                <a:pos x="2965" y="93"/>
              </a:cxn>
            </a:cxnLst>
            <a:rect l="0" t="0" r="r" b="b"/>
            <a:pathLst>
              <a:path w="3118" h="205">
                <a:moveTo>
                  <a:pt x="2965" y="93"/>
                </a:moveTo>
                <a:cubicBezTo>
                  <a:pt x="303" y="93"/>
                  <a:pt x="303" y="93"/>
                  <a:pt x="303" y="93"/>
                </a:cubicBezTo>
                <a:cubicBezTo>
                  <a:pt x="183" y="93"/>
                  <a:pt x="151" y="187"/>
                  <a:pt x="151" y="187"/>
                </a:cubicBezTo>
                <a:cubicBezTo>
                  <a:pt x="151" y="187"/>
                  <a:pt x="119" y="93"/>
                  <a:pt x="0" y="93"/>
                </a:cubicBezTo>
                <a:cubicBezTo>
                  <a:pt x="0" y="112"/>
                  <a:pt x="0" y="112"/>
                  <a:pt x="0" y="112"/>
                </a:cubicBezTo>
                <a:cubicBezTo>
                  <a:pt x="119" y="112"/>
                  <a:pt x="151" y="205"/>
                  <a:pt x="151" y="205"/>
                </a:cubicBezTo>
                <a:cubicBezTo>
                  <a:pt x="151" y="205"/>
                  <a:pt x="183" y="112"/>
                  <a:pt x="303" y="112"/>
                </a:cubicBezTo>
                <a:cubicBezTo>
                  <a:pt x="2965" y="112"/>
                  <a:pt x="2965" y="112"/>
                  <a:pt x="2965" y="112"/>
                </a:cubicBezTo>
                <a:cubicBezTo>
                  <a:pt x="3085" y="112"/>
                  <a:pt x="3118" y="19"/>
                  <a:pt x="3118" y="19"/>
                </a:cubicBezTo>
                <a:cubicBezTo>
                  <a:pt x="3118" y="0"/>
                  <a:pt x="3118" y="0"/>
                  <a:pt x="3118" y="0"/>
                </a:cubicBezTo>
                <a:cubicBezTo>
                  <a:pt x="3118" y="0"/>
                  <a:pt x="3085" y="93"/>
                  <a:pt x="2965" y="93"/>
                </a:cubicBezTo>
                <a:close/>
              </a:path>
            </a:pathLst>
          </a:custGeom>
          <a:solidFill>
            <a:schemeClr val="accent5"/>
          </a:solidFill>
          <a:ln w="9525">
            <a:noFill/>
            <a:round/>
            <a:headEnd/>
            <a:tailEnd/>
          </a:ln>
          <a:effectLst>
            <a:outerShdw blurRad="50800" dist="25400" dir="5400000" algn="t" rotWithShape="0">
              <a:prstClr val="black">
                <a:alpha val="31000"/>
              </a:prstClr>
            </a:outerShdw>
          </a:effectLst>
        </p:spPr>
        <p:txBody>
          <a:bodyPr vert="horz" wrap="square" lIns="99563" tIns="49782" rIns="99563" bIns="49782" numCol="1" anchor="t" anchorCtr="0" compatLnSpc="1">
            <a:prstTxWarp prst="textNoShape">
              <a:avLst/>
            </a:prstTxWarp>
          </a:bodyPr>
          <a:lstStyle/>
          <a:p>
            <a:pPr defTabSz="957756" fontAlgn="auto">
              <a:spcBef>
                <a:spcPts val="0"/>
              </a:spcBef>
              <a:spcAft>
                <a:spcPts val="0"/>
              </a:spcAft>
            </a:pPr>
            <a:endParaRPr lang="fr-FR" sz="1900" b="0">
              <a:solidFill>
                <a:srgbClr val="000000"/>
              </a:solidFill>
              <a:latin typeface="Arial"/>
              <a:cs typeface="+mn-cs"/>
            </a:endParaRPr>
          </a:p>
        </p:txBody>
      </p:sp>
      <p:cxnSp>
        <p:nvCxnSpPr>
          <p:cNvPr id="15" name="Straight Connector 5"/>
          <p:cNvCxnSpPr/>
          <p:nvPr/>
        </p:nvCxnSpPr>
        <p:spPr>
          <a:xfrm flipH="1">
            <a:off x="2" y="6362700"/>
            <a:ext cx="9143999" cy="0"/>
          </a:xfrm>
          <a:prstGeom prst="line">
            <a:avLst/>
          </a:prstGeom>
          <a:ln w="9525" cmpd="sng">
            <a:solidFill>
              <a:schemeClr val="accent5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Date Placeholder 15"/>
          <p:cNvSpPr>
            <a:spLocks noGrp="1"/>
          </p:cNvSpPr>
          <p:nvPr>
            <p:ph type="dt" sz="half" idx="2"/>
          </p:nvPr>
        </p:nvSpPr>
        <p:spPr>
          <a:xfrm>
            <a:off x="6223229" y="6427223"/>
            <a:ext cx="2455978" cy="195814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altLang="en-US" sz="700" b="0" i="0" kern="1200" noProof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Helvetica Light"/>
              </a:defRPr>
            </a:lvl1pPr>
          </a:lstStyle>
          <a:p>
            <a:pPr defTabSz="995445" eaLnBrk="0" fontAlgn="auto" hangingPunct="0">
              <a:lnSpc>
                <a:spcPct val="90000"/>
              </a:lnSpc>
              <a:spcBef>
                <a:spcPct val="10000"/>
              </a:spcBef>
              <a:spcAft>
                <a:spcPts val="0"/>
              </a:spcAft>
              <a:defRPr/>
            </a:pPr>
            <a:r>
              <a:rPr>
                <a:solidFill>
                  <a:srgbClr val="000000">
                    <a:lumMod val="50000"/>
                    <a:lumOff val="50000"/>
                  </a:srgbClr>
                </a:solidFill>
              </a:rPr>
              <a:t>Copyright © Capgemini 2014. All Rights Reserved</a:t>
            </a:r>
            <a:endParaRPr lang="en-US" dirty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7" name="Footer Placeholder 16"/>
          <p:cNvSpPr>
            <a:spLocks noGrp="1"/>
          </p:cNvSpPr>
          <p:nvPr>
            <p:ph type="ftr" sz="quarter" idx="3"/>
          </p:nvPr>
        </p:nvSpPr>
        <p:spPr>
          <a:xfrm>
            <a:off x="6223229" y="6623402"/>
            <a:ext cx="2455978" cy="183502"/>
          </a:xfrm>
          <a:prstGeom prst="rect">
            <a:avLst/>
          </a:prstGeom>
        </p:spPr>
        <p:txBody>
          <a:bodyPr wrap="none" lIns="35997" tIns="35997" rIns="35997" bIns="35997" anchor="b" anchorCtr="0">
            <a:noAutofit/>
          </a:bodyPr>
          <a:lstStyle>
            <a:lvl1pPr marL="0" algn="r" defTabSz="957756" rtl="0" eaLnBrk="1" latinLnBrk="0" hangingPunct="1">
              <a:defRPr lang="de-DE" sz="700" kern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b="0">
                <a:solidFill>
                  <a:srgbClr val="000000">
                    <a:lumMod val="50000"/>
                    <a:lumOff val="50000"/>
                  </a:srgbClr>
                </a:solidFill>
              </a:rPr>
              <a:t>User Stories Funktionsblöcke Mobilität.pptx</a:t>
            </a:r>
          </a:p>
        </p:txBody>
      </p:sp>
      <p:sp>
        <p:nvSpPr>
          <p:cNvPr id="18" name="Slide Number Placeholder 17"/>
          <p:cNvSpPr>
            <a:spLocks noGrp="1"/>
          </p:cNvSpPr>
          <p:nvPr>
            <p:ph type="sldNum" sz="quarter" idx="4"/>
          </p:nvPr>
        </p:nvSpPr>
        <p:spPr>
          <a:xfrm>
            <a:off x="8780788" y="6653997"/>
            <a:ext cx="203582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>
            <a:lvl1pPr marL="0" algn="ctr" defTabSz="957756" rtl="0" eaLnBrk="1" latinLnBrk="0" hangingPunct="1">
              <a:defRPr lang="de-DE" sz="800" kern="120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880BADDE-CEDF-4108-ADCD-25C7E5D681A5}" type="slidenum">
              <a:rPr b="0">
                <a:solidFill>
                  <a:srgbClr val="000000">
                    <a:lumMod val="50000"/>
                    <a:lumOff val="50000"/>
                  </a:srgbClr>
                </a:solidFill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Nr.›</a:t>
            </a:fld>
            <a:endParaRPr b="0">
              <a:solidFill>
                <a:srgbClr val="000000">
                  <a:lumMod val="50000"/>
                  <a:lumOff val="50000"/>
                </a:srgbClr>
              </a:solidFill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252046" y="1501978"/>
            <a:ext cx="8639908" cy="46365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 smtClean="0"/>
          </a:p>
        </p:txBody>
      </p:sp>
      <p:sp>
        <p:nvSpPr>
          <p:cNvPr id="12" name="FootnoteAndSource" hidden="1"/>
          <p:cNvSpPr txBox="1"/>
          <p:nvPr/>
        </p:nvSpPr>
        <p:spPr>
          <a:xfrm>
            <a:off x="250290" y="6174740"/>
            <a:ext cx="4321710" cy="162096"/>
          </a:xfrm>
          <a:prstGeom prst="rect">
            <a:avLst/>
          </a:prstGeom>
          <a:noFill/>
        </p:spPr>
        <p:txBody>
          <a:bodyPr vert="horz" wrap="square" lIns="0" tIns="25400" rIns="0" bIns="25400" rtlCol="0">
            <a:spAutoFit/>
          </a:bodyPr>
          <a:lstStyle/>
          <a:p>
            <a:pPr marL="429768" indent="-429768" fontAlgn="auto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tabLst>
                <a:tab pos="347472" algn="r"/>
              </a:tabLst>
            </a:pPr>
            <a:r>
              <a:rPr lang="de-DE" sz="800" b="0" dirty="0">
                <a:solidFill>
                  <a:srgbClr val="000000"/>
                </a:solidFill>
                <a:latin typeface="Arial"/>
                <a:cs typeface="+mn-cs"/>
              </a:rPr>
              <a:t>	Source:	Source Text</a:t>
            </a:r>
          </a:p>
        </p:txBody>
      </p:sp>
      <p:grpSp>
        <p:nvGrpSpPr>
          <p:cNvPr id="25" name="Group_Sticker" hidden="1"/>
          <p:cNvGrpSpPr/>
          <p:nvPr/>
        </p:nvGrpSpPr>
        <p:grpSpPr>
          <a:xfrm>
            <a:off x="8338093" y="1176717"/>
            <a:ext cx="562655" cy="246863"/>
            <a:chOff x="9032931" y="1176717"/>
            <a:chExt cx="609543" cy="246863"/>
          </a:xfrm>
        </p:grpSpPr>
        <p:sp>
          <p:nvSpPr>
            <p:cNvPr id="19" name="Rectangle 109"/>
            <p:cNvSpPr>
              <a:spLocks noChangeArrowheads="1"/>
            </p:cNvSpPr>
            <p:nvPr/>
          </p:nvSpPr>
          <p:spPr bwMode="auto">
            <a:xfrm>
              <a:off x="9032931" y="1176717"/>
              <a:ext cx="609543" cy="2468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46038" rIns="0" bIns="46038" anchor="ctr">
              <a:spAutoFit/>
            </a:bodyPr>
            <a:lstStyle/>
            <a:p>
              <a:pPr algn="ctr" defTabSz="957756" eaLnBrk="0" fontAlgn="auto" hangingPunct="0">
                <a:spcBef>
                  <a:spcPts val="0"/>
                </a:spcBef>
                <a:spcAft>
                  <a:spcPts val="0"/>
                </a:spcAft>
                <a:tabLst>
                  <a:tab pos="6400800" algn="r"/>
                  <a:tab pos="8636000" algn="r"/>
                </a:tabLst>
              </a:pPr>
              <a:r>
                <a:rPr lang="en-GB" sz="1000" dirty="0">
                  <a:solidFill>
                    <a:srgbClr val="000000"/>
                  </a:solidFill>
                  <a:latin typeface="Arial"/>
                  <a:cs typeface="+mn-cs"/>
                </a:rPr>
                <a:t>STICKER</a:t>
              </a:r>
            </a:p>
          </p:txBody>
        </p:sp>
        <p:sp>
          <p:nvSpPr>
            <p:cNvPr id="20" name="Line 110"/>
            <p:cNvSpPr>
              <a:spLocks noChangeShapeType="1"/>
            </p:cNvSpPr>
            <p:nvPr/>
          </p:nvSpPr>
          <p:spPr bwMode="auto">
            <a:xfrm>
              <a:off x="9056716" y="11842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57756" fontAlgn="auto">
                <a:spcBef>
                  <a:spcPts val="0"/>
                </a:spcBef>
                <a:spcAft>
                  <a:spcPts val="0"/>
                </a:spcAft>
              </a:pPr>
              <a:endParaRPr lang="en-GB" sz="1900" b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  <p:sp>
          <p:nvSpPr>
            <p:cNvPr id="22" name="Line 111"/>
            <p:cNvSpPr>
              <a:spLocks noChangeShapeType="1"/>
            </p:cNvSpPr>
            <p:nvPr/>
          </p:nvSpPr>
          <p:spPr bwMode="auto">
            <a:xfrm>
              <a:off x="9056716" y="1412862"/>
              <a:ext cx="561974" cy="0"/>
            </a:xfrm>
            <a:prstGeom prst="line">
              <a:avLst/>
            </a:prstGeom>
            <a:noFill/>
            <a:ln w="9525">
              <a:solidFill>
                <a:schemeClr val="bg2"/>
              </a:solidFill>
              <a:round/>
              <a:headEnd type="none" w="sm" len="sm"/>
              <a:tailEnd type="none" w="sm" len="sm"/>
            </a:ln>
            <a:effectLst/>
          </p:spPr>
          <p:txBody>
            <a:bodyPr wrap="none" anchor="ctr"/>
            <a:lstStyle/>
            <a:p>
              <a:pPr defTabSz="957756" fontAlgn="auto">
                <a:spcBef>
                  <a:spcPts val="0"/>
                </a:spcBef>
                <a:spcAft>
                  <a:spcPts val="0"/>
                </a:spcAft>
              </a:pPr>
              <a:endParaRPr lang="en-GB" sz="1900" b="0">
                <a:solidFill>
                  <a:srgbClr val="000000"/>
                </a:solidFill>
                <a:latin typeface="Arial"/>
                <a:cs typeface="+mn-cs"/>
              </a:endParaRPr>
            </a:p>
          </p:txBody>
        </p:sp>
      </p:grpSp>
      <p:sp>
        <p:nvSpPr>
          <p:cNvPr id="24" name="CapgeminiBox" hidden="1"/>
          <p:cNvSpPr>
            <a:spLocks/>
          </p:cNvSpPr>
          <p:nvPr/>
        </p:nvSpPr>
        <p:spPr>
          <a:xfrm>
            <a:off x="-2088220" y="0"/>
            <a:ext cx="2088220" cy="2862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0" indent="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None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7550" indent="-179388" algn="l" defTabSz="801688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895350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§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076325" indent="-177800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Arial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257300" indent="-17462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433513" indent="-180975" algn="l" defTabSz="914342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400"/>
              </a:spcAft>
              <a:buClr>
                <a:schemeClr val="tx2"/>
              </a:buClr>
              <a:buFont typeface="Wingdings" pitchFamily="2" charset="2"/>
              <a:buChar char="v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buClr>
                <a:srgbClr val="998C85"/>
              </a:buClr>
            </a:pPr>
            <a:r>
              <a:rPr lang="en-US" dirty="0" err="1" smtClean="0">
                <a:solidFill>
                  <a:srgbClr val="000000"/>
                </a:solidFill>
              </a:rPr>
              <a:t>Capgemini</a:t>
            </a:r>
            <a:r>
              <a:rPr lang="en-US" dirty="0" smtClean="0">
                <a:solidFill>
                  <a:srgbClr val="000000"/>
                </a:solidFill>
              </a:rPr>
              <a:t> Global V7.7</a:t>
            </a:r>
          </a:p>
        </p:txBody>
      </p:sp>
    </p:spTree>
    <p:extLst>
      <p:ext uri="{BB962C8B-B14F-4D97-AF65-F5344CB8AC3E}">
        <p14:creationId xmlns:p14="http://schemas.microsoft.com/office/powerpoint/2010/main" val="1480215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1" r:id="rId1"/>
    <p:sldLayoutId id="2147483952" r:id="rId2"/>
    <p:sldLayoutId id="2147483953" r:id="rId3"/>
    <p:sldLayoutId id="2147483954" r:id="rId4"/>
    <p:sldLayoutId id="2147483955" r:id="rId5"/>
    <p:sldLayoutId id="2147483956" r:id="rId6"/>
    <p:sldLayoutId id="2147483957" r:id="rId7"/>
    <p:sldLayoutId id="2147483958" r:id="rId8"/>
    <p:sldLayoutId id="2147483959" r:id="rId9"/>
    <p:sldLayoutId id="2147483960" r:id="rId10"/>
    <p:sldLayoutId id="2147483961" r:id="rId11"/>
  </p:sldLayoutIdLst>
  <p:timing>
    <p:tnLst>
      <p:par>
        <p:cTn id="1" dur="indefinite" restart="never" nodeType="tmRoot"/>
      </p:par>
    </p:tnLst>
  </p:timing>
  <p:hf hdr="0"/>
  <p:txStyles>
    <p:titleStyle>
      <a:lvl1pPr algn="l" defTabSz="914342" rtl="0" eaLnBrk="1" latinLnBrk="0" hangingPunct="1">
        <a:lnSpc>
          <a:spcPct val="90000"/>
        </a:lnSpc>
        <a:spcBef>
          <a:spcPct val="0"/>
        </a:spcBef>
        <a:buNone/>
        <a:defRPr sz="2800" b="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None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182563" indent="-182563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0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25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1450" algn="l" defTabSz="801688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895350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076325" indent="-177800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257300" indent="-17462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433513" indent="-180975" algn="l" defTabSz="914342" rtl="0" eaLnBrk="1" latinLnBrk="0" hangingPunct="1">
        <a:lnSpc>
          <a:spcPct val="90000"/>
        </a:lnSpc>
        <a:spcBef>
          <a:spcPts val="0"/>
        </a:spcBef>
        <a:spcAft>
          <a:spcPts val="400"/>
        </a:spcAft>
        <a:buClr>
          <a:schemeClr val="tx2"/>
        </a:buClr>
        <a:buFont typeface="Wingdings" pitchFamily="2" charset="2"/>
        <a:buChar char="v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1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42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3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4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55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26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98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69" algn="l" defTabSz="91434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6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9.bin"/><Relationship Id="rId4" Type="http://schemas.openxmlformats.org/officeDocument/2006/relationships/notesSlide" Target="../notesSlides/notesSlide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hyperlink" Target="http://www.de.capgemini.com/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3020" y="476672"/>
            <a:ext cx="8820980" cy="1941513"/>
          </a:xfrm>
        </p:spPr>
        <p:txBody>
          <a:bodyPr/>
          <a:lstStyle/>
          <a:p>
            <a:pPr algn="ctr" eaLnBrk="1" hangingPunct="1"/>
            <a:r>
              <a:rPr lang="de-DE" altLang="de-DE" sz="3600" dirty="0" smtClean="0"/>
              <a:t>Semester Projects at</a:t>
            </a:r>
            <a:br>
              <a:rPr lang="de-DE" altLang="de-DE" sz="3600" dirty="0" smtClean="0"/>
            </a:br>
            <a:r>
              <a:rPr lang="de-DE" altLang="de-DE" sz="3600" dirty="0" smtClean="0"/>
              <a:t>Humboldt University Berlin:</a:t>
            </a:r>
            <a:br>
              <a:rPr lang="de-DE" altLang="de-DE" sz="3600" dirty="0" smtClean="0"/>
            </a:br>
            <a:r>
              <a:rPr lang="de-DE" altLang="de-DE" sz="3600" dirty="0" err="1" smtClean="0"/>
              <a:t>Experiences</a:t>
            </a:r>
            <a:r>
              <a:rPr lang="de-DE" altLang="de-DE" sz="3600" dirty="0" smtClean="0"/>
              <a:t> </a:t>
            </a:r>
            <a:r>
              <a:rPr lang="de-DE" altLang="de-DE" sz="3600" dirty="0" err="1" smtClean="0"/>
              <a:t>with</a:t>
            </a:r>
            <a:r>
              <a:rPr lang="de-DE" altLang="de-DE" sz="3600" dirty="0" smtClean="0"/>
              <a:t> an </a:t>
            </a:r>
            <a:r>
              <a:rPr lang="de-DE" altLang="de-DE" sz="3600" dirty="0" err="1" smtClean="0"/>
              <a:t>Industry</a:t>
            </a:r>
            <a:r>
              <a:rPr lang="de-DE" altLang="de-DE" sz="3600" dirty="0" smtClean="0"/>
              <a:t> </a:t>
            </a:r>
            <a:r>
              <a:rPr lang="de-DE" altLang="de-DE" sz="3600" dirty="0" err="1" smtClean="0"/>
              <a:t>Cooperation</a:t>
            </a:r>
            <a:endParaRPr lang="en-US" altLang="de-DE" sz="3600" b="1" dirty="0" smtClean="0"/>
          </a:p>
        </p:txBody>
      </p:sp>
      <p:sp>
        <p:nvSpPr>
          <p:cNvPr id="4099" name="Rectangle 4"/>
          <p:cNvSpPr>
            <a:spLocks noChangeArrowheads="1"/>
          </p:cNvSpPr>
          <p:nvPr/>
        </p:nvSpPr>
        <p:spPr bwMode="auto">
          <a:xfrm>
            <a:off x="446088" y="3609020"/>
            <a:ext cx="8324850" cy="1008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altLang="de-DE" sz="2800" b="0" dirty="0"/>
              <a:t>Klaus </a:t>
            </a:r>
            <a:r>
              <a:rPr lang="en-US" altLang="de-DE" sz="2800" b="0" dirty="0" smtClean="0"/>
              <a:t>Bothe, Olga </a:t>
            </a:r>
            <a:r>
              <a:rPr lang="en-US" altLang="de-DE" sz="2800" b="0" dirty="0" err="1" smtClean="0"/>
              <a:t>Schiemangk</a:t>
            </a:r>
            <a:endParaRPr lang="en-US" altLang="de-DE" sz="2800" b="0" dirty="0"/>
          </a:p>
          <a:p>
            <a:pPr algn="ctr" eaLnBrk="1" hangingPunct="1"/>
            <a:r>
              <a:rPr lang="en-US" altLang="de-DE" sz="2000" b="0" dirty="0"/>
              <a:t>Humboldt University Berlin </a:t>
            </a:r>
            <a:endParaRPr lang="en-US" altLang="de-DE" sz="4000" b="0" dirty="0">
              <a:solidFill>
                <a:schemeClr val="tx2"/>
              </a:solidFill>
            </a:endParaRPr>
          </a:p>
        </p:txBody>
      </p:sp>
      <p:sp>
        <p:nvSpPr>
          <p:cNvPr id="4100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2607" y="5301208"/>
            <a:ext cx="8151812" cy="720080"/>
          </a:xfrm>
        </p:spPr>
        <p:txBody>
          <a:bodyPr/>
          <a:lstStyle/>
          <a:p>
            <a:r>
              <a:rPr lang="en-GB" altLang="de-DE" sz="1200" b="1" i="1" dirty="0" smtClean="0">
                <a:cs typeface="Times New Roman" pitchFamily="18" charset="0"/>
              </a:rPr>
              <a:t>15</a:t>
            </a:r>
            <a:r>
              <a:rPr lang="en-GB" altLang="de-DE" sz="1200" b="1" i="1" baseline="30000" dirty="0" smtClean="0">
                <a:cs typeface="Times New Roman" pitchFamily="18" charset="0"/>
              </a:rPr>
              <a:t>th</a:t>
            </a:r>
            <a:r>
              <a:rPr lang="en-GB" altLang="de-DE" sz="1200" b="1" i="1" dirty="0" smtClean="0">
                <a:cs typeface="Times New Roman" pitchFamily="18" charset="0"/>
              </a:rPr>
              <a:t> Workshop “Software Engineering Education and Reverse Engineering</a:t>
            </a:r>
          </a:p>
          <a:p>
            <a:r>
              <a:rPr lang="en-GB" altLang="de-DE" sz="1200" b="1" i="1" dirty="0" err="1" smtClean="0">
                <a:cs typeface="Times New Roman" pitchFamily="18" charset="0"/>
              </a:rPr>
              <a:t>Bohinj</a:t>
            </a:r>
            <a:r>
              <a:rPr lang="en-GB" altLang="de-DE" sz="1200" b="1" i="1" dirty="0" smtClean="0">
                <a:cs typeface="Times New Roman" pitchFamily="18" charset="0"/>
              </a:rPr>
              <a:t>, Slovenia, 24</a:t>
            </a:r>
            <a:r>
              <a:rPr lang="en-GB" altLang="de-DE" sz="1200" b="1" i="1" baseline="30000" dirty="0" smtClean="0">
                <a:cs typeface="Times New Roman" pitchFamily="18" charset="0"/>
              </a:rPr>
              <a:t>th</a:t>
            </a:r>
            <a:r>
              <a:rPr lang="en-GB" altLang="de-DE" sz="1200" b="1" i="1" dirty="0" smtClean="0">
                <a:cs typeface="Times New Roman" pitchFamily="18" charset="0"/>
              </a:rPr>
              <a:t> – 29</a:t>
            </a:r>
            <a:r>
              <a:rPr lang="en-GB" altLang="de-DE" sz="1200" b="1" i="1" baseline="30000" dirty="0" smtClean="0">
                <a:cs typeface="Times New Roman" pitchFamily="18" charset="0"/>
              </a:rPr>
              <a:t>th</a:t>
            </a:r>
            <a:r>
              <a:rPr lang="en-GB" altLang="de-DE" sz="1200" b="1" i="1" dirty="0" smtClean="0">
                <a:cs typeface="Times New Roman" pitchFamily="18" charset="0"/>
              </a:rPr>
              <a:t> August 2015</a:t>
            </a:r>
          </a:p>
        </p:txBody>
      </p:sp>
    </p:spTree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33813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000" dirty="0" err="1" smtClean="0">
                <a:solidFill>
                  <a:srgbClr val="800000"/>
                </a:solidFill>
              </a:rPr>
              <a:t>Participating</a:t>
            </a:r>
            <a:r>
              <a:rPr lang="de-DE" sz="4000" dirty="0" smtClean="0">
                <a:solidFill>
                  <a:srgbClr val="800000"/>
                </a:solidFill>
              </a:rPr>
              <a:t> </a:t>
            </a:r>
            <a:r>
              <a:rPr lang="de-DE" sz="4000" dirty="0" err="1" smtClean="0">
                <a:solidFill>
                  <a:srgbClr val="800000"/>
                </a:solidFill>
              </a:rPr>
              <a:t>students</a:t>
            </a:r>
            <a:r>
              <a:rPr lang="de-DE" sz="4000" dirty="0" smtClean="0">
                <a:solidFill>
                  <a:srgbClr val="800000"/>
                </a:solidFill>
              </a:rPr>
              <a:t> </a:t>
            </a:r>
            <a:endParaRPr lang="de-DE" sz="4000" dirty="0">
              <a:solidFill>
                <a:srgbClr val="800000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63588" y="2024844"/>
            <a:ext cx="7772400" cy="4114800"/>
          </a:xfrm>
        </p:spPr>
        <p:txBody>
          <a:bodyPr/>
          <a:lstStyle/>
          <a:p>
            <a:r>
              <a:rPr lang="de-DE" sz="2600" dirty="0" smtClean="0"/>
              <a:t>In </a:t>
            </a:r>
            <a:r>
              <a:rPr lang="de-DE" sz="2600" dirty="0" err="1" smtClean="0"/>
              <a:t>the</a:t>
            </a:r>
            <a:r>
              <a:rPr lang="de-DE" sz="2600" dirty="0" smtClean="0"/>
              <a:t> </a:t>
            </a:r>
            <a:r>
              <a:rPr lang="de-DE" sz="2600" dirty="0" err="1" smtClean="0"/>
              <a:t>beginning</a:t>
            </a:r>
            <a:r>
              <a:rPr lang="de-DE" sz="2600" dirty="0" smtClean="0"/>
              <a:t>: 5 </a:t>
            </a:r>
            <a:r>
              <a:rPr lang="de-DE" sz="2600" dirty="0" err="1" smtClean="0"/>
              <a:t>students</a:t>
            </a:r>
            <a:endParaRPr lang="de-DE" sz="2600" dirty="0" smtClean="0"/>
          </a:p>
          <a:p>
            <a:r>
              <a:rPr lang="de-DE" sz="2600" dirty="0" err="1" smtClean="0"/>
              <a:t>One</a:t>
            </a:r>
            <a:r>
              <a:rPr lang="de-DE" sz="2600" dirty="0" smtClean="0"/>
              <a:t> </a:t>
            </a:r>
            <a:r>
              <a:rPr lang="de-DE" sz="2600" dirty="0" err="1" smtClean="0"/>
              <a:t>had</a:t>
            </a:r>
            <a:r>
              <a:rPr lang="de-DE" sz="2600" dirty="0" smtClean="0"/>
              <a:t> </a:t>
            </a:r>
            <a:r>
              <a:rPr lang="de-DE" sz="2600" dirty="0" err="1" smtClean="0"/>
              <a:t>to</a:t>
            </a:r>
            <a:r>
              <a:rPr lang="de-DE" sz="2600" dirty="0" smtClean="0"/>
              <a:t> </a:t>
            </a:r>
            <a:r>
              <a:rPr lang="de-DE" sz="2600" dirty="0" err="1" smtClean="0"/>
              <a:t>be</a:t>
            </a:r>
            <a:r>
              <a:rPr lang="de-DE" sz="2600" dirty="0" smtClean="0"/>
              <a:t> </a:t>
            </a:r>
            <a:r>
              <a:rPr lang="de-DE" sz="2600" dirty="0" err="1" smtClean="0"/>
              <a:t>excluded</a:t>
            </a:r>
            <a:r>
              <a:rPr lang="de-DE" sz="2600" dirty="0" smtClean="0"/>
              <a:t> (</a:t>
            </a:r>
            <a:r>
              <a:rPr lang="de-DE" sz="2600" dirty="0" err="1" smtClean="0"/>
              <a:t>inactivity</a:t>
            </a:r>
            <a:r>
              <a:rPr lang="de-DE" sz="2600" dirty="0" smtClean="0"/>
              <a:t>)</a:t>
            </a:r>
          </a:p>
          <a:p>
            <a:r>
              <a:rPr lang="de-DE" sz="2600" dirty="0" smtClean="0"/>
              <a:t>All </a:t>
            </a:r>
            <a:r>
              <a:rPr lang="de-DE" sz="2600" dirty="0" err="1" smtClean="0"/>
              <a:t>of</a:t>
            </a:r>
            <a:r>
              <a:rPr lang="de-DE" sz="2600" dirty="0" smtClean="0"/>
              <a:t> </a:t>
            </a:r>
            <a:r>
              <a:rPr lang="de-DE" sz="2600" dirty="0" err="1" smtClean="0"/>
              <a:t>the</a:t>
            </a:r>
            <a:r>
              <a:rPr lang="de-DE" sz="2600" dirty="0" smtClean="0"/>
              <a:t> </a:t>
            </a:r>
            <a:r>
              <a:rPr lang="de-DE" sz="2600" dirty="0" err="1" smtClean="0"/>
              <a:t>other</a:t>
            </a:r>
            <a:r>
              <a:rPr lang="de-DE" sz="2600" dirty="0" smtClean="0"/>
              <a:t> 4 </a:t>
            </a:r>
            <a:r>
              <a:rPr lang="de-DE" sz="2600" dirty="0" err="1" smtClean="0"/>
              <a:t>were</a:t>
            </a:r>
            <a:r>
              <a:rPr lang="de-DE" sz="2600" dirty="0" smtClean="0"/>
              <a:t> </a:t>
            </a:r>
            <a:r>
              <a:rPr lang="de-DE" sz="2600" dirty="0" err="1" smtClean="0"/>
              <a:t>very</a:t>
            </a:r>
            <a:r>
              <a:rPr lang="de-DE" sz="2600" dirty="0" smtClean="0"/>
              <a:t> </a:t>
            </a:r>
            <a:r>
              <a:rPr lang="de-DE" sz="2600" dirty="0" err="1" smtClean="0"/>
              <a:t>satisfied</a:t>
            </a:r>
            <a:r>
              <a:rPr lang="de-DE" sz="2600" dirty="0" smtClean="0"/>
              <a:t> at </a:t>
            </a:r>
            <a:r>
              <a:rPr lang="de-DE" sz="2600" dirty="0" err="1" smtClean="0"/>
              <a:t>the</a:t>
            </a:r>
            <a:r>
              <a:rPr lang="de-DE" sz="2600" dirty="0" smtClean="0"/>
              <a:t> end</a:t>
            </a:r>
          </a:p>
          <a:p>
            <a:r>
              <a:rPr lang="de-DE" sz="2600" dirty="0" err="1" smtClean="0"/>
              <a:t>Students</a:t>
            </a:r>
            <a:r>
              <a:rPr lang="de-DE" sz="2600" dirty="0" smtClean="0"/>
              <a:t> </a:t>
            </a:r>
            <a:r>
              <a:rPr lang="de-DE" sz="2600" dirty="0" err="1" smtClean="0"/>
              <a:t>with</a:t>
            </a:r>
            <a:r>
              <a:rPr lang="de-DE" sz="2600" dirty="0" smtClean="0"/>
              <a:t> </a:t>
            </a:r>
            <a:r>
              <a:rPr lang="de-DE" sz="2600" dirty="0" err="1" smtClean="0"/>
              <a:t>better</a:t>
            </a:r>
            <a:r>
              <a:rPr lang="de-DE" sz="2600" dirty="0" smtClean="0"/>
              <a:t> </a:t>
            </a:r>
            <a:r>
              <a:rPr lang="de-DE" sz="2600" dirty="0" err="1" smtClean="0"/>
              <a:t>performance</a:t>
            </a:r>
            <a:r>
              <a:rPr lang="de-DE" sz="2600" dirty="0" smtClean="0"/>
              <a:t> (grades)</a:t>
            </a:r>
          </a:p>
          <a:p>
            <a:r>
              <a:rPr lang="de-DE" sz="2600" dirty="0" err="1" smtClean="0"/>
              <a:t>Unfortunately</a:t>
            </a:r>
            <a:r>
              <a:rPr lang="de-DE" sz="2600" dirty="0" smtClean="0"/>
              <a:t>, </a:t>
            </a:r>
            <a:r>
              <a:rPr lang="de-DE" sz="2600" dirty="0" err="1"/>
              <a:t>o</a:t>
            </a:r>
            <a:r>
              <a:rPr lang="de-DE" sz="2600" dirty="0" err="1" smtClean="0"/>
              <a:t>nly</a:t>
            </a:r>
            <a:r>
              <a:rPr lang="de-DE" sz="2600" dirty="0" smtClean="0"/>
              <a:t> 4 </a:t>
            </a:r>
            <a:r>
              <a:rPr lang="de-DE" sz="2600" dirty="0" err="1" smtClean="0"/>
              <a:t>students</a:t>
            </a:r>
            <a:r>
              <a:rPr lang="de-DE" sz="2600" dirty="0" smtClean="0"/>
              <a:t>: </a:t>
            </a:r>
            <a:r>
              <a:rPr lang="de-DE" sz="2600" dirty="0" smtClean="0"/>
              <a:t/>
            </a:r>
            <a:br>
              <a:rPr lang="de-DE" sz="2600" dirty="0" smtClean="0"/>
            </a:br>
            <a:r>
              <a:rPr lang="de-DE" sz="2600" dirty="0" err="1" smtClean="0"/>
              <a:t>distance</a:t>
            </a:r>
            <a:r>
              <a:rPr lang="de-DE" sz="2600" dirty="0" smtClean="0"/>
              <a:t> </a:t>
            </a:r>
            <a:r>
              <a:rPr lang="de-DE" sz="2600" dirty="0" err="1" smtClean="0"/>
              <a:t>between</a:t>
            </a:r>
            <a:r>
              <a:rPr lang="de-DE" sz="2600" dirty="0" smtClean="0"/>
              <a:t> </a:t>
            </a:r>
            <a:r>
              <a:rPr lang="de-DE" sz="2600" dirty="0" err="1" smtClean="0"/>
              <a:t>Institute‘s</a:t>
            </a:r>
            <a:r>
              <a:rPr lang="de-DE" sz="2600" dirty="0" smtClean="0"/>
              <a:t> </a:t>
            </a:r>
            <a:r>
              <a:rPr lang="de-DE" sz="2600" dirty="0" err="1" smtClean="0"/>
              <a:t>campus</a:t>
            </a:r>
            <a:r>
              <a:rPr lang="de-DE" sz="2600" dirty="0" smtClean="0"/>
              <a:t> (Adlershof) </a:t>
            </a:r>
            <a:r>
              <a:rPr lang="de-DE" sz="2600" dirty="0" err="1" smtClean="0"/>
              <a:t>and</a:t>
            </a:r>
            <a:r>
              <a:rPr lang="de-DE" sz="2600" dirty="0" smtClean="0"/>
              <a:t> </a:t>
            </a:r>
            <a:r>
              <a:rPr lang="de-DE" sz="2600" dirty="0" err="1" smtClean="0"/>
              <a:t>project</a:t>
            </a:r>
            <a:r>
              <a:rPr lang="de-DE" sz="2600" dirty="0" smtClean="0"/>
              <a:t> </a:t>
            </a:r>
            <a:r>
              <a:rPr lang="de-DE" sz="2600" dirty="0" err="1" smtClean="0"/>
              <a:t>meeting</a:t>
            </a:r>
            <a:r>
              <a:rPr lang="de-DE" sz="2600" dirty="0" smtClean="0"/>
              <a:t> </a:t>
            </a:r>
            <a:r>
              <a:rPr lang="de-DE" sz="2600" dirty="0" err="1" smtClean="0"/>
              <a:t>point</a:t>
            </a:r>
            <a:r>
              <a:rPr lang="de-DE" sz="2600" dirty="0" smtClean="0"/>
              <a:t> at </a:t>
            </a:r>
            <a:r>
              <a:rPr lang="de-DE" sz="2600" dirty="0" err="1" smtClean="0"/>
              <a:t>Capgemini</a:t>
            </a:r>
            <a:r>
              <a:rPr lang="de-DE" sz="2600" dirty="0" smtClean="0"/>
              <a:t> (</a:t>
            </a:r>
            <a:r>
              <a:rPr lang="de-DE" sz="2600" dirty="0" err="1" smtClean="0"/>
              <a:t>city</a:t>
            </a:r>
            <a:r>
              <a:rPr lang="de-DE" sz="2600" dirty="0" smtClean="0"/>
              <a:t> </a:t>
            </a:r>
            <a:r>
              <a:rPr lang="de-DE" sz="2600" dirty="0" err="1" smtClean="0"/>
              <a:t>center</a:t>
            </a:r>
            <a:r>
              <a:rPr lang="de-DE" sz="2600" dirty="0" smtClean="0"/>
              <a:t>: Potsdamer Platz)</a:t>
            </a:r>
            <a:endParaRPr lang="de-DE" sz="26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991FD62-6466-40FD-AB98-0A2BD0DD1706}" type="slidenum">
              <a:rPr lang="de-DE" smtClean="0"/>
              <a:pPr>
                <a:defRPr/>
              </a:pPr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15258856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"/>
          <p:cNvSpPr>
            <a:spLocks noChangeArrowheads="1"/>
          </p:cNvSpPr>
          <p:nvPr/>
        </p:nvSpPr>
        <p:spPr bwMode="auto">
          <a:xfrm>
            <a:off x="215900" y="3501690"/>
            <a:ext cx="8604250" cy="503374"/>
          </a:xfrm>
          <a:prstGeom prst="rect">
            <a:avLst/>
          </a:prstGeom>
          <a:gradFill rotWithShape="1">
            <a:gsLst>
              <a:gs pos="0">
                <a:srgbClr val="FFCC00">
                  <a:alpha val="50000"/>
                </a:srgbClr>
              </a:gs>
              <a:gs pos="100000">
                <a:srgbClr val="765E00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>
              <a:solidFill>
                <a:srgbClr val="000000"/>
              </a:solidFill>
            </a:endParaRPr>
          </a:p>
        </p:txBody>
      </p:sp>
      <p:sp>
        <p:nvSpPr>
          <p:cNvPr id="6147" name="AutoShap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smtClean="0"/>
              <a:t>Contents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82600" y="1700808"/>
            <a:ext cx="8661400" cy="4573587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en-US" altLang="de-DE" dirty="0" smtClean="0"/>
          </a:p>
          <a:p>
            <a:pPr eaLnBrk="1" hangingPunct="1"/>
            <a:r>
              <a:rPr lang="en-US" altLang="de-DE" sz="2400" dirty="0" smtClean="0"/>
              <a:t>Bachelor Curriculum at HU</a:t>
            </a:r>
          </a:p>
          <a:p>
            <a:pPr eaLnBrk="1" hangingPunct="1"/>
            <a:r>
              <a:rPr lang="en-US" altLang="de-DE" sz="2400" dirty="0" smtClean="0"/>
              <a:t>Cooperation with a Company at a Semester Project during WS 2014/15</a:t>
            </a:r>
          </a:p>
          <a:p>
            <a:pPr eaLnBrk="1" hangingPunct="1"/>
            <a:r>
              <a:rPr lang="en-US" altLang="de-DE" sz="2400" dirty="0" smtClean="0"/>
              <a:t>Task, Special Features and Technology</a:t>
            </a:r>
          </a:p>
          <a:p>
            <a:pPr eaLnBrk="1" hangingPunct="1"/>
            <a:r>
              <a:rPr lang="en-US" altLang="de-DE" sz="2400" dirty="0" smtClean="0"/>
              <a:t>Agile Development with Scrum</a:t>
            </a:r>
          </a:p>
          <a:p>
            <a:pPr eaLnBrk="1" hangingPunct="1"/>
            <a:r>
              <a:rPr lang="en-US" altLang="de-DE" sz="2400" dirty="0" smtClean="0"/>
              <a:t>Agenda and Results</a:t>
            </a:r>
          </a:p>
          <a:p>
            <a:pPr eaLnBrk="1" hangingPunct="1"/>
            <a:r>
              <a:rPr lang="en-US" altLang="de-DE" sz="2400" dirty="0" smtClean="0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656717154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>
                <a:solidFill>
                  <a:srgbClr val="800000"/>
                </a:solidFill>
              </a:rPr>
              <a:t>Intermodal </a:t>
            </a:r>
            <a:r>
              <a:rPr lang="de-DE" dirty="0" err="1" smtClean="0">
                <a:solidFill>
                  <a:srgbClr val="800000"/>
                </a:solidFill>
              </a:rPr>
              <a:t>mobility</a:t>
            </a:r>
            <a:r>
              <a:rPr lang="de-DE" dirty="0" smtClean="0">
                <a:solidFill>
                  <a:srgbClr val="800000"/>
                </a:solidFill>
              </a:rPr>
              <a:t> </a:t>
            </a:r>
            <a:r>
              <a:rPr lang="de-DE" dirty="0" err="1" smtClean="0">
                <a:solidFill>
                  <a:srgbClr val="800000"/>
                </a:solidFill>
              </a:rPr>
              <a:t>platform</a:t>
            </a:r>
            <a:endParaRPr lang="de-DE" dirty="0">
              <a:solidFill>
                <a:srgbClr val="800000"/>
              </a:solidFill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47564" y="1988840"/>
            <a:ext cx="8352928" cy="4068452"/>
          </a:xfrm>
        </p:spPr>
        <p:txBody>
          <a:bodyPr/>
          <a:lstStyle/>
          <a:p>
            <a:pPr marL="0" indent="0">
              <a:buNone/>
            </a:pPr>
            <a:r>
              <a:rPr lang="de-DE" sz="2400" dirty="0" smtClean="0"/>
              <a:t>Support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general</a:t>
            </a:r>
            <a:r>
              <a:rPr lang="de-DE" sz="2400" dirty="0" smtClean="0"/>
              <a:t> </a:t>
            </a:r>
            <a:r>
              <a:rPr lang="de-DE" sz="2400" dirty="0" err="1" smtClean="0"/>
              <a:t>travel</a:t>
            </a:r>
            <a:r>
              <a:rPr lang="de-DE" sz="2400" dirty="0" smtClean="0"/>
              <a:t> </a:t>
            </a:r>
            <a:r>
              <a:rPr lang="de-DE" sz="2400" dirty="0" err="1" smtClean="0"/>
              <a:t>activities</a:t>
            </a:r>
            <a:r>
              <a:rPr lang="de-DE" sz="2400" dirty="0" smtClean="0"/>
              <a:t> </a:t>
            </a:r>
            <a:r>
              <a:rPr lang="de-DE" sz="2400" dirty="0" smtClean="0"/>
              <a:t>- </a:t>
            </a:r>
            <a:r>
              <a:rPr lang="de-DE" altLang="de-DE" sz="2400" dirty="0" smtClean="0">
                <a:solidFill>
                  <a:srgbClr val="800000"/>
                </a:solidFill>
              </a:rPr>
              <a:t>Real-</a:t>
            </a:r>
            <a:r>
              <a:rPr lang="de-DE" altLang="de-DE" sz="2400" dirty="0" err="1" smtClean="0">
                <a:solidFill>
                  <a:srgbClr val="800000"/>
                </a:solidFill>
              </a:rPr>
              <a:t>world</a:t>
            </a:r>
            <a:r>
              <a:rPr lang="de-DE" altLang="de-DE" sz="2400" dirty="0" smtClean="0">
                <a:solidFill>
                  <a:srgbClr val="800000"/>
                </a:solidFill>
              </a:rPr>
              <a:t> </a:t>
            </a:r>
            <a:r>
              <a:rPr lang="de-DE" altLang="de-DE" sz="2400" dirty="0" err="1" smtClean="0">
                <a:solidFill>
                  <a:srgbClr val="800000"/>
                </a:solidFill>
              </a:rPr>
              <a:t>task</a:t>
            </a:r>
            <a:endParaRPr lang="de-DE" sz="2400" dirty="0" smtClean="0"/>
          </a:p>
          <a:p>
            <a:pPr marL="0" indent="0">
              <a:buNone/>
            </a:pPr>
            <a:r>
              <a:rPr lang="de-DE" sz="2200" dirty="0" err="1" smtClean="0"/>
              <a:t>Assumption</a:t>
            </a:r>
            <a:r>
              <a:rPr lang="de-DE" sz="2200" dirty="0" smtClean="0"/>
              <a:t>: private </a:t>
            </a:r>
            <a:r>
              <a:rPr lang="de-DE" sz="2200" dirty="0" err="1" smtClean="0"/>
              <a:t>cars</a:t>
            </a:r>
            <a:r>
              <a:rPr lang="de-DE" sz="2200" dirty="0" smtClean="0"/>
              <a:t> </a:t>
            </a:r>
            <a:r>
              <a:rPr lang="de-DE" sz="2200" dirty="0" err="1" smtClean="0"/>
              <a:t>become</a:t>
            </a:r>
            <a:r>
              <a:rPr lang="de-DE" sz="2200" dirty="0" smtClean="0"/>
              <a:t> </a:t>
            </a:r>
            <a:r>
              <a:rPr lang="de-DE" sz="2200" dirty="0" err="1" smtClean="0"/>
              <a:t>less</a:t>
            </a:r>
            <a:r>
              <a:rPr lang="de-DE" sz="2200" dirty="0" smtClean="0"/>
              <a:t> </a:t>
            </a:r>
            <a:r>
              <a:rPr lang="de-DE" sz="2200" dirty="0" err="1" smtClean="0"/>
              <a:t>important</a:t>
            </a:r>
            <a:r>
              <a:rPr lang="de-DE" sz="2200" dirty="0" smtClean="0"/>
              <a:t> in the </a:t>
            </a:r>
            <a:r>
              <a:rPr lang="de-DE" sz="2200" dirty="0" err="1" smtClean="0"/>
              <a:t>future</a:t>
            </a:r>
            <a:r>
              <a:rPr lang="de-DE" sz="2200" dirty="0" smtClean="0"/>
              <a:t> (</a:t>
            </a:r>
            <a:r>
              <a:rPr lang="de-DE" sz="2200" dirty="0" err="1" smtClean="0"/>
              <a:t>and</a:t>
            </a:r>
            <a:r>
              <a:rPr lang="de-DE" sz="2200" dirty="0" smtClean="0"/>
              <a:t> </a:t>
            </a:r>
            <a:r>
              <a:rPr lang="de-DE" sz="2200" dirty="0" err="1" smtClean="0"/>
              <a:t>even</a:t>
            </a:r>
            <a:r>
              <a:rPr lang="de-DE" sz="2200" dirty="0" smtClean="0"/>
              <a:t> </a:t>
            </a:r>
            <a:r>
              <a:rPr lang="de-DE" sz="2200" dirty="0" err="1" smtClean="0"/>
              <a:t>today</a:t>
            </a:r>
            <a:r>
              <a:rPr lang="de-DE" sz="2200" dirty="0" smtClean="0"/>
              <a:t>)</a:t>
            </a:r>
          </a:p>
          <a:p>
            <a:pPr marL="0" indent="0">
              <a:buNone/>
            </a:pPr>
            <a:endParaRPr lang="de-DE" sz="2200" dirty="0" smtClean="0"/>
          </a:p>
          <a:p>
            <a:pPr marL="0" indent="0">
              <a:buNone/>
            </a:pPr>
            <a:r>
              <a:rPr lang="de-DE" sz="2200" dirty="0" smtClean="0"/>
              <a:t>Task: </a:t>
            </a:r>
            <a:r>
              <a:rPr lang="de-DE" sz="2200" dirty="0" err="1" smtClean="0"/>
              <a:t>How</a:t>
            </a:r>
            <a:r>
              <a:rPr lang="de-DE" sz="2200" dirty="0" smtClean="0"/>
              <a:t> </a:t>
            </a:r>
            <a:r>
              <a:rPr lang="de-DE" sz="2200" dirty="0" err="1" smtClean="0"/>
              <a:t>to</a:t>
            </a:r>
            <a:r>
              <a:rPr lang="de-DE" sz="2200" dirty="0" smtClean="0"/>
              <a:t> </a:t>
            </a:r>
            <a:r>
              <a:rPr lang="de-DE" sz="2200" dirty="0" err="1" smtClean="0"/>
              <a:t>move</a:t>
            </a:r>
            <a:r>
              <a:rPr lang="de-DE" sz="2200" dirty="0" smtClean="0"/>
              <a:t> </a:t>
            </a:r>
            <a:r>
              <a:rPr lang="de-DE" sz="2200" dirty="0" err="1" smtClean="0"/>
              <a:t>from</a:t>
            </a:r>
            <a:r>
              <a:rPr lang="de-DE" sz="2200" dirty="0" smtClean="0"/>
              <a:t> </a:t>
            </a:r>
            <a:r>
              <a:rPr lang="de-DE" sz="2200" dirty="0" err="1" smtClean="0"/>
              <a:t>point</a:t>
            </a:r>
            <a:r>
              <a:rPr lang="de-DE" sz="2200" dirty="0" smtClean="0"/>
              <a:t> A </a:t>
            </a:r>
            <a:r>
              <a:rPr lang="de-DE" sz="2200" dirty="0" err="1" smtClean="0"/>
              <a:t>to</a:t>
            </a:r>
            <a:r>
              <a:rPr lang="de-DE" sz="2200" dirty="0" smtClean="0"/>
              <a:t> </a:t>
            </a:r>
            <a:r>
              <a:rPr lang="de-DE" sz="2200" dirty="0" err="1" smtClean="0"/>
              <a:t>point</a:t>
            </a:r>
            <a:r>
              <a:rPr lang="de-DE" sz="2200" dirty="0" smtClean="0"/>
              <a:t> B</a:t>
            </a:r>
          </a:p>
          <a:p>
            <a:pPr marL="0" indent="0">
              <a:buNone/>
            </a:pPr>
            <a:r>
              <a:rPr lang="de-DE" sz="2200" dirty="0"/>
              <a:t> </a:t>
            </a:r>
            <a:r>
              <a:rPr lang="de-DE" sz="2200" dirty="0" smtClean="0"/>
              <a:t>        </a:t>
            </a:r>
            <a:r>
              <a:rPr lang="de-DE" sz="2200" dirty="0" err="1" smtClean="0"/>
              <a:t>using</a:t>
            </a:r>
            <a:r>
              <a:rPr lang="de-DE" sz="2200" dirty="0" smtClean="0"/>
              <a:t> different </a:t>
            </a:r>
            <a:r>
              <a:rPr lang="de-DE" sz="2200" dirty="0" err="1" smtClean="0"/>
              <a:t>types</a:t>
            </a:r>
            <a:r>
              <a:rPr lang="de-DE" sz="2200" dirty="0" smtClean="0"/>
              <a:t> </a:t>
            </a:r>
            <a:r>
              <a:rPr lang="de-DE" sz="2200" dirty="0" err="1" smtClean="0"/>
              <a:t>of</a:t>
            </a:r>
            <a:r>
              <a:rPr lang="de-DE" sz="2200" dirty="0" smtClean="0"/>
              <a:t> </a:t>
            </a:r>
            <a:r>
              <a:rPr lang="de-DE" sz="2200" dirty="0" err="1" smtClean="0"/>
              <a:t>transport</a:t>
            </a:r>
            <a:r>
              <a:rPr lang="de-DE" sz="2200" dirty="0" smtClean="0"/>
              <a:t> </a:t>
            </a:r>
            <a:r>
              <a:rPr lang="de-DE" sz="2200" dirty="0" err="1" smtClean="0"/>
              <a:t>services</a:t>
            </a:r>
            <a:r>
              <a:rPr lang="de-DE" sz="2200" dirty="0"/>
              <a:t> </a:t>
            </a:r>
            <a:r>
              <a:rPr lang="de-DE" sz="2200" dirty="0" smtClean="0"/>
              <a:t>like</a:t>
            </a:r>
          </a:p>
          <a:p>
            <a:pPr marL="0" indent="0">
              <a:buNone/>
            </a:pPr>
            <a:r>
              <a:rPr lang="de-DE" sz="2200" dirty="0" smtClean="0"/>
              <a:t>         </a:t>
            </a:r>
            <a:r>
              <a:rPr lang="de-DE" sz="2200" dirty="0" err="1" smtClean="0"/>
              <a:t>public</a:t>
            </a:r>
            <a:r>
              <a:rPr lang="de-DE" sz="2200" dirty="0" smtClean="0"/>
              <a:t> </a:t>
            </a:r>
            <a:r>
              <a:rPr lang="de-DE" sz="2200" dirty="0" err="1" smtClean="0"/>
              <a:t>city</a:t>
            </a:r>
            <a:r>
              <a:rPr lang="de-DE" sz="2200" dirty="0" smtClean="0"/>
              <a:t> </a:t>
            </a:r>
            <a:r>
              <a:rPr lang="de-DE" sz="2200" dirty="0" err="1" smtClean="0"/>
              <a:t>transport</a:t>
            </a:r>
            <a:r>
              <a:rPr lang="de-DE" sz="2200" dirty="0" smtClean="0"/>
              <a:t>, </a:t>
            </a:r>
            <a:r>
              <a:rPr lang="de-DE" sz="2200" dirty="0" err="1" smtClean="0"/>
              <a:t>train</a:t>
            </a:r>
            <a:r>
              <a:rPr lang="de-DE" sz="2200" dirty="0" smtClean="0"/>
              <a:t>, </a:t>
            </a:r>
            <a:r>
              <a:rPr lang="de-DE" sz="2200" dirty="0" err="1" smtClean="0"/>
              <a:t>airplane</a:t>
            </a:r>
            <a:r>
              <a:rPr lang="de-DE" sz="2200" dirty="0" smtClean="0"/>
              <a:t>, </a:t>
            </a:r>
            <a:r>
              <a:rPr lang="de-DE" sz="2200" dirty="0" err="1" smtClean="0"/>
              <a:t>car</a:t>
            </a:r>
            <a:r>
              <a:rPr lang="de-DE" sz="2200" dirty="0" smtClean="0"/>
              <a:t>, </a:t>
            </a:r>
            <a:r>
              <a:rPr lang="de-DE" sz="2200" dirty="0" err="1" smtClean="0"/>
              <a:t>overland</a:t>
            </a:r>
            <a:r>
              <a:rPr lang="de-DE" sz="2200" dirty="0" smtClean="0"/>
              <a:t> </a:t>
            </a:r>
            <a:r>
              <a:rPr lang="de-DE" sz="2200" dirty="0" err="1" smtClean="0"/>
              <a:t>bus</a:t>
            </a:r>
            <a:r>
              <a:rPr lang="de-DE" sz="2200" dirty="0" smtClean="0"/>
              <a:t>, </a:t>
            </a:r>
            <a:r>
              <a:rPr lang="de-DE" sz="2200" dirty="0" err="1" smtClean="0"/>
              <a:t>walk</a:t>
            </a:r>
            <a:endParaRPr lang="de-DE" sz="2200" dirty="0" smtClean="0"/>
          </a:p>
          <a:p>
            <a:pPr marL="0" indent="0">
              <a:buNone/>
            </a:pPr>
            <a:endParaRPr lang="de-DE" sz="2200" dirty="0" smtClean="0"/>
          </a:p>
          <a:p>
            <a:pPr marL="0" indent="0">
              <a:buNone/>
            </a:pPr>
            <a:r>
              <a:rPr lang="de-DE" sz="2200" dirty="0" smtClean="0"/>
              <a:t>Support </a:t>
            </a:r>
            <a:r>
              <a:rPr lang="de-DE" sz="2200" dirty="0" err="1" smtClean="0"/>
              <a:t>of</a:t>
            </a:r>
            <a:r>
              <a:rPr lang="de-DE" sz="2200" dirty="0" smtClean="0"/>
              <a:t> all </a:t>
            </a:r>
            <a:r>
              <a:rPr lang="de-DE" sz="2200" dirty="0" err="1" smtClean="0"/>
              <a:t>phases</a:t>
            </a:r>
            <a:r>
              <a:rPr lang="de-DE" sz="2200" dirty="0" smtClean="0"/>
              <a:t> </a:t>
            </a:r>
            <a:r>
              <a:rPr lang="de-DE" sz="2200" dirty="0" err="1" smtClean="0"/>
              <a:t>of</a:t>
            </a:r>
            <a:r>
              <a:rPr lang="de-DE" sz="2200" dirty="0" smtClean="0"/>
              <a:t> the </a:t>
            </a:r>
            <a:r>
              <a:rPr lang="de-DE" sz="2200" dirty="0" err="1" smtClean="0"/>
              <a:t>journey</a:t>
            </a:r>
            <a:r>
              <a:rPr lang="de-DE" sz="2200" dirty="0" smtClean="0"/>
              <a:t> (</a:t>
            </a:r>
            <a:r>
              <a:rPr lang="de-DE" sz="2000" dirty="0" err="1" smtClean="0"/>
              <a:t>planning</a:t>
            </a:r>
            <a:r>
              <a:rPr lang="de-DE" sz="2000" dirty="0" smtClean="0"/>
              <a:t>, </a:t>
            </a:r>
            <a:r>
              <a:rPr lang="de-DE" sz="2000" dirty="0" err="1" smtClean="0"/>
              <a:t>payment</a:t>
            </a:r>
            <a:r>
              <a:rPr lang="de-DE" sz="2000" dirty="0" smtClean="0"/>
              <a:t>, on the </a:t>
            </a:r>
            <a:r>
              <a:rPr lang="de-DE" sz="2000" dirty="0" err="1" smtClean="0"/>
              <a:t>trip</a:t>
            </a:r>
            <a:r>
              <a:rPr lang="de-DE" sz="2000" dirty="0" smtClean="0"/>
              <a:t>, </a:t>
            </a:r>
            <a:r>
              <a:rPr lang="de-DE" sz="2000" dirty="0" err="1" smtClean="0"/>
              <a:t>waiting</a:t>
            </a:r>
            <a:r>
              <a:rPr lang="de-DE" sz="2000" dirty="0" smtClean="0"/>
              <a:t> </a:t>
            </a:r>
            <a:r>
              <a:rPr lang="de-DE" sz="2000" dirty="0" err="1" smtClean="0"/>
              <a:t>periods</a:t>
            </a:r>
            <a:r>
              <a:rPr lang="de-DE" sz="2000" dirty="0" smtClean="0"/>
              <a:t>, </a:t>
            </a:r>
            <a:r>
              <a:rPr lang="de-DE" sz="2000" dirty="0" err="1" smtClean="0"/>
              <a:t>reuse</a:t>
            </a:r>
            <a:r>
              <a:rPr lang="de-DE" sz="2000" dirty="0" smtClean="0"/>
              <a:t> </a:t>
            </a:r>
            <a:r>
              <a:rPr lang="de-DE" sz="2000" dirty="0" err="1" smtClean="0"/>
              <a:t>for</a:t>
            </a:r>
            <a:r>
              <a:rPr lang="de-DE" sz="2000" dirty="0" smtClean="0"/>
              <a:t> </a:t>
            </a:r>
            <a:r>
              <a:rPr lang="de-DE" sz="2000" dirty="0" err="1" smtClean="0"/>
              <a:t>later</a:t>
            </a:r>
            <a:r>
              <a:rPr lang="de-DE" sz="2000" dirty="0" smtClean="0"/>
              <a:t> </a:t>
            </a:r>
            <a:r>
              <a:rPr lang="de-DE" sz="2000" dirty="0" err="1" smtClean="0"/>
              <a:t>journeys</a:t>
            </a:r>
            <a:r>
              <a:rPr lang="de-DE" sz="2000" dirty="0" smtClean="0"/>
              <a:t>, </a:t>
            </a:r>
            <a:r>
              <a:rPr lang="de-DE" sz="2000" dirty="0" err="1" smtClean="0"/>
              <a:t>share</a:t>
            </a:r>
            <a:r>
              <a:rPr lang="de-DE" sz="2000" dirty="0" smtClean="0"/>
              <a:t> </a:t>
            </a:r>
            <a:r>
              <a:rPr lang="de-DE" sz="2000" dirty="0" err="1" smtClean="0"/>
              <a:t>with</a:t>
            </a:r>
            <a:r>
              <a:rPr lang="de-DE" sz="2000" dirty="0" smtClean="0"/>
              <a:t> </a:t>
            </a:r>
            <a:r>
              <a:rPr lang="de-DE" sz="2000" dirty="0" err="1" smtClean="0"/>
              <a:t>friends</a:t>
            </a:r>
            <a:r>
              <a:rPr lang="de-DE" sz="2000" dirty="0" smtClean="0"/>
              <a:t> …</a:t>
            </a:r>
            <a:r>
              <a:rPr lang="de-DE" sz="2200" dirty="0" smtClean="0"/>
              <a:t>) 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991FD62-6466-40FD-AB98-0A2BD0DD1706}" type="slidenum">
              <a:rPr lang="de-DE" smtClean="0"/>
              <a:pPr>
                <a:defRPr/>
              </a:pPr>
              <a:t>13</a:t>
            </a:fld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917043" y="5985284"/>
            <a:ext cx="681468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>
                <a:sym typeface="Wingdings" panose="05000000000000000000" pitchFamily="2" charset="2"/>
              </a:rPr>
              <a:t> Just in </a:t>
            </a:r>
            <a:r>
              <a:rPr lang="de-DE" dirty="0" err="1" smtClean="0">
                <a:sym typeface="Wingdings" panose="05000000000000000000" pitchFamily="2" charset="2"/>
              </a:rPr>
              <a:t>phase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of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experients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and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research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668525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402966" y="617538"/>
            <a:ext cx="6877446" cy="1143000"/>
          </a:xfrm>
        </p:spPr>
        <p:txBody>
          <a:bodyPr/>
          <a:lstStyle/>
          <a:p>
            <a:r>
              <a:rPr lang="de-DE" sz="3600" dirty="0" smtClean="0"/>
              <a:t>Cloud Computing Technologies </a:t>
            </a:r>
            <a:r>
              <a:rPr lang="de-DE" sz="3600" dirty="0" err="1" smtClean="0"/>
              <a:t>used</a:t>
            </a:r>
            <a:r>
              <a:rPr lang="de-DE" sz="3600" dirty="0" smtClean="0"/>
              <a:t> in </a:t>
            </a:r>
            <a:r>
              <a:rPr lang="de-DE" sz="3600" dirty="0" err="1" smtClean="0"/>
              <a:t>the</a:t>
            </a:r>
            <a:r>
              <a:rPr lang="de-DE" sz="3600" dirty="0" smtClean="0"/>
              <a:t> </a:t>
            </a:r>
            <a:r>
              <a:rPr lang="de-DE" sz="3600" dirty="0" err="1" smtClean="0"/>
              <a:t>project</a:t>
            </a:r>
            <a:endParaRPr lang="de-DE" sz="36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41DD31-796B-47D9-8FA7-8CE45BCCA82B}" type="slidenum">
              <a:rPr lang="de-DE" smtClean="0"/>
              <a:pPr>
                <a:defRPr/>
              </a:pPr>
              <a:t>14</a:t>
            </a:fld>
            <a:endParaRPr lang="de-DE"/>
          </a:p>
        </p:txBody>
      </p:sp>
      <p:sp>
        <p:nvSpPr>
          <p:cNvPr id="4" name="Rechteck 3"/>
          <p:cNvSpPr/>
          <p:nvPr/>
        </p:nvSpPr>
        <p:spPr>
          <a:xfrm>
            <a:off x="1116124" y="2063745"/>
            <a:ext cx="7776356" cy="52322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200" b="0" dirty="0" smtClean="0"/>
              <a:t>Force.com</a:t>
            </a:r>
          </a:p>
          <a:p>
            <a:pPr marL="800100" lvl="1" indent="-342900">
              <a:buFont typeface="Wingdings" pitchFamily="2" charset="2"/>
              <a:buChar char="Ø"/>
            </a:pPr>
            <a:r>
              <a:rPr lang="de-DE" sz="2200" b="0" dirty="0" err="1" smtClean="0"/>
              <a:t>is</a:t>
            </a:r>
            <a:r>
              <a:rPr lang="de-DE" sz="2200" b="0" dirty="0" smtClean="0"/>
              <a:t> a „</a:t>
            </a:r>
            <a:r>
              <a:rPr lang="de-DE" sz="2200" b="0" dirty="0" err="1" smtClean="0"/>
              <a:t>Platform</a:t>
            </a:r>
            <a:r>
              <a:rPr lang="de-DE" sz="2200" b="0" dirty="0" smtClean="0"/>
              <a:t> </a:t>
            </a:r>
            <a:r>
              <a:rPr lang="de-DE" sz="2200" b="0" dirty="0" err="1"/>
              <a:t>as</a:t>
            </a:r>
            <a:r>
              <a:rPr lang="de-DE" sz="2200" b="0" dirty="0"/>
              <a:t> a </a:t>
            </a:r>
            <a:r>
              <a:rPr lang="de-DE" sz="2200" b="0" dirty="0" smtClean="0"/>
              <a:t>Service“</a:t>
            </a:r>
            <a:r>
              <a:rPr lang="de-DE" sz="2200" b="0" dirty="0"/>
              <a:t>(</a:t>
            </a:r>
            <a:r>
              <a:rPr lang="de-DE" sz="2200" b="0" dirty="0" err="1" smtClean="0"/>
              <a:t>PaaS</a:t>
            </a:r>
            <a:r>
              <a:rPr lang="de-DE" sz="2200" b="0" dirty="0" smtClean="0"/>
              <a:t>) </a:t>
            </a:r>
            <a:r>
              <a:rPr lang="de-DE" sz="2200" b="0" dirty="0" err="1"/>
              <a:t>p</a:t>
            </a:r>
            <a:r>
              <a:rPr lang="de-DE" sz="2200" b="0" dirty="0" err="1" smtClean="0"/>
              <a:t>roduct</a:t>
            </a:r>
            <a:endParaRPr lang="de-DE" sz="2200" b="0" dirty="0" smtClean="0"/>
          </a:p>
          <a:p>
            <a:pPr marL="800100" lvl="1" indent="-342900">
              <a:buFont typeface="Wingdings" pitchFamily="2" charset="2"/>
              <a:buChar char="Ø"/>
            </a:pPr>
            <a:r>
              <a:rPr lang="de-DE" sz="2200" b="0" dirty="0" err="1" smtClean="0"/>
              <a:t>offered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by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Salesforce</a:t>
            </a:r>
            <a:r>
              <a:rPr lang="de-DE" sz="2200" b="0" dirty="0" smtClean="0"/>
              <a:t> (</a:t>
            </a:r>
            <a:r>
              <a:rPr lang="de-DE" sz="2200" b="0" dirty="0" err="1" smtClean="0"/>
              <a:t>company</a:t>
            </a:r>
            <a:r>
              <a:rPr lang="de-DE" sz="2200" b="0" dirty="0" smtClean="0"/>
              <a:t> at California) </a:t>
            </a:r>
            <a:r>
              <a:rPr lang="de-DE" sz="2200" b="0" dirty="0" err="1" smtClean="0"/>
              <a:t>for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software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development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and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usage</a:t>
            </a:r>
            <a:r>
              <a:rPr lang="de-DE" sz="2200" b="0" dirty="0" smtClean="0"/>
              <a:t> (all </a:t>
            </a:r>
            <a:r>
              <a:rPr lang="de-DE" sz="2200" b="0" dirty="0" err="1" smtClean="0"/>
              <a:t>the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code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stored</a:t>
            </a:r>
            <a:r>
              <a:rPr lang="de-DE" sz="2200" b="0" dirty="0" smtClean="0"/>
              <a:t> in </a:t>
            </a:r>
            <a:r>
              <a:rPr lang="de-DE" sz="2200" b="0" dirty="0" err="1" smtClean="0"/>
              <a:t>the</a:t>
            </a:r>
            <a:r>
              <a:rPr lang="de-DE" sz="2200" b="0" dirty="0" smtClean="0"/>
              <a:t> „</a:t>
            </a:r>
            <a:r>
              <a:rPr lang="de-DE" sz="2200" b="0" dirty="0" err="1" smtClean="0"/>
              <a:t>cloud</a:t>
            </a:r>
            <a:r>
              <a:rPr lang="de-DE" sz="2200" b="0" dirty="0" smtClean="0"/>
              <a:t>“; </a:t>
            </a:r>
            <a:r>
              <a:rPr lang="de-DE" sz="2200" b="0" dirty="0" err="1" smtClean="0"/>
              <a:t>server</a:t>
            </a:r>
            <a:r>
              <a:rPr lang="de-DE" sz="2200" b="0" dirty="0" smtClean="0"/>
              <a:t> at </a:t>
            </a:r>
            <a:r>
              <a:rPr lang="de-DE" sz="2200" b="0" dirty="0" err="1" smtClean="0"/>
              <a:t>Ireland</a:t>
            </a:r>
            <a:r>
              <a:rPr lang="de-DE" sz="2200" b="0" dirty="0" smtClean="0"/>
              <a:t>)</a:t>
            </a:r>
            <a:endParaRPr lang="de-DE" sz="2200" b="0" dirty="0"/>
          </a:p>
          <a:p>
            <a:endParaRPr lang="de-DE" sz="22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200" b="0" dirty="0" err="1" smtClean="0"/>
              <a:t>Heroku</a:t>
            </a:r>
            <a:endParaRPr lang="de-DE" sz="2200" b="0" dirty="0" smtClean="0"/>
          </a:p>
          <a:p>
            <a:pPr marL="800100" lvl="2" indent="-342900">
              <a:buFont typeface="Wingdings" pitchFamily="2" charset="2"/>
              <a:buChar char="Ø"/>
            </a:pPr>
            <a:r>
              <a:rPr lang="de-DE" sz="2200" b="0" dirty="0" err="1"/>
              <a:t>is</a:t>
            </a:r>
            <a:r>
              <a:rPr lang="de-DE" sz="2200" b="0" dirty="0"/>
              <a:t> a </a:t>
            </a:r>
            <a:r>
              <a:rPr lang="de-DE" sz="2200" b="0" dirty="0" err="1" smtClean="0"/>
              <a:t>PaaS-product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from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Salesforce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as</a:t>
            </a:r>
            <a:r>
              <a:rPr lang="de-DE" sz="2200" b="0" dirty="0" smtClean="0"/>
              <a:t> well</a:t>
            </a:r>
          </a:p>
          <a:p>
            <a:pPr marL="800100" lvl="2" indent="-342900">
              <a:buFont typeface="Wingdings" pitchFamily="2" charset="2"/>
              <a:buChar char="Ø"/>
            </a:pPr>
            <a:r>
              <a:rPr lang="de-DE" sz="2200" b="0" dirty="0" err="1" smtClean="0"/>
              <a:t>provides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building</a:t>
            </a:r>
            <a:r>
              <a:rPr lang="de-DE" sz="2200" b="0" dirty="0" smtClean="0"/>
              <a:t> </a:t>
            </a:r>
            <a:r>
              <a:rPr lang="de-DE" sz="2200" b="0" dirty="0" err="1"/>
              <a:t>and</a:t>
            </a:r>
            <a:r>
              <a:rPr lang="de-DE" sz="2200" b="0" dirty="0"/>
              <a:t> </a:t>
            </a:r>
            <a:r>
              <a:rPr lang="de-DE" sz="2200" b="0" dirty="0" err="1" smtClean="0"/>
              <a:t>deploying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apps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for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webservices</a:t>
            </a:r>
            <a:endParaRPr lang="de-DE" sz="2200" b="0" dirty="0" smtClean="0"/>
          </a:p>
          <a:p>
            <a:pPr marL="800100" lvl="2" indent="-342900">
              <a:buFont typeface="Arial" panose="020B0604020202020204" pitchFamily="34" charset="0"/>
              <a:buChar char="•"/>
            </a:pPr>
            <a:endParaRPr lang="de-DE" sz="2200" b="0" dirty="0" smtClean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2200" b="0" dirty="0" smtClean="0"/>
              <a:t>Salesforce technologies, </a:t>
            </a:r>
            <a:r>
              <a:rPr lang="en-US" sz="2200" b="0" dirty="0"/>
              <a:t>including the </a:t>
            </a:r>
            <a:r>
              <a:rPr lang="en-US" sz="2200" b="0" dirty="0" err="1"/>
              <a:t>Heroku</a:t>
            </a:r>
            <a:r>
              <a:rPr lang="en-US" sz="2200" b="0" dirty="0"/>
              <a:t> service, </a:t>
            </a:r>
            <a:r>
              <a:rPr lang="en-US" sz="2200" b="0" dirty="0" smtClean="0"/>
              <a:t>was recognized in the “Leader PaaS </a:t>
            </a:r>
            <a:r>
              <a:rPr lang="en-US" sz="2200" b="0" dirty="0"/>
              <a:t>Magic </a:t>
            </a:r>
            <a:r>
              <a:rPr lang="en-US" sz="2200" b="0" dirty="0" smtClean="0"/>
              <a:t>Quadrant”  in Gartner’s evaluation 2014 and 2015</a:t>
            </a:r>
            <a:endParaRPr lang="de-DE" sz="2200" b="0" dirty="0"/>
          </a:p>
          <a:p>
            <a:pPr marL="800100" lvl="2" indent="-342900">
              <a:buFont typeface="Arial" panose="020B0604020202020204" pitchFamily="34" charset="0"/>
              <a:buChar char="•"/>
            </a:pPr>
            <a:endParaRPr lang="de-DE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57952110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"/>
          <p:cNvSpPr>
            <a:spLocks noChangeArrowheads="1"/>
          </p:cNvSpPr>
          <p:nvPr/>
        </p:nvSpPr>
        <p:spPr bwMode="auto">
          <a:xfrm>
            <a:off x="215900" y="3933738"/>
            <a:ext cx="8604250" cy="503374"/>
          </a:xfrm>
          <a:prstGeom prst="rect">
            <a:avLst/>
          </a:prstGeom>
          <a:gradFill rotWithShape="1">
            <a:gsLst>
              <a:gs pos="0">
                <a:srgbClr val="FFCC00">
                  <a:alpha val="50000"/>
                </a:srgbClr>
              </a:gs>
              <a:gs pos="100000">
                <a:srgbClr val="765E00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147" name="AutoShap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smtClean="0"/>
              <a:t>Contents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82600" y="1700808"/>
            <a:ext cx="8661400" cy="4573587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en-US" altLang="de-DE" dirty="0" smtClean="0"/>
          </a:p>
          <a:p>
            <a:pPr eaLnBrk="1" hangingPunct="1"/>
            <a:r>
              <a:rPr lang="en-US" altLang="de-DE" sz="2400" dirty="0" smtClean="0"/>
              <a:t>Bachelor Curriculum at HU</a:t>
            </a:r>
          </a:p>
          <a:p>
            <a:pPr eaLnBrk="1" hangingPunct="1"/>
            <a:r>
              <a:rPr lang="en-US" altLang="de-DE" sz="2400" dirty="0" smtClean="0"/>
              <a:t>Cooperation with </a:t>
            </a:r>
            <a:r>
              <a:rPr lang="en-US" altLang="de-DE" sz="2400" dirty="0"/>
              <a:t>a </a:t>
            </a:r>
            <a:r>
              <a:rPr lang="en-US" altLang="de-DE" sz="2400" dirty="0" smtClean="0"/>
              <a:t>Company at a Semester Project during WS 2014/15</a:t>
            </a:r>
          </a:p>
          <a:p>
            <a:pPr eaLnBrk="1" hangingPunct="1"/>
            <a:r>
              <a:rPr lang="en-US" altLang="de-DE" sz="2400" dirty="0" smtClean="0"/>
              <a:t>Task, Special Features and Technology</a:t>
            </a:r>
          </a:p>
          <a:p>
            <a:pPr eaLnBrk="1" hangingPunct="1"/>
            <a:r>
              <a:rPr lang="en-US" altLang="de-DE" sz="2400" dirty="0" smtClean="0"/>
              <a:t>Agile Development with Scrum</a:t>
            </a:r>
          </a:p>
          <a:p>
            <a:pPr eaLnBrk="1" hangingPunct="1"/>
            <a:r>
              <a:rPr lang="en-US" altLang="de-DE" sz="2400" dirty="0" smtClean="0"/>
              <a:t>Agenda and Results</a:t>
            </a:r>
          </a:p>
          <a:p>
            <a:pPr eaLnBrk="1" hangingPunct="1"/>
            <a:r>
              <a:rPr lang="en-US" altLang="de-DE" sz="2400" dirty="0" smtClean="0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2757271124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19572" y="2744924"/>
            <a:ext cx="7793037" cy="2124236"/>
          </a:xfrm>
        </p:spPr>
        <p:txBody>
          <a:bodyPr/>
          <a:lstStyle/>
          <a:p>
            <a:r>
              <a:rPr lang="de-DE" dirty="0" err="1" smtClean="0"/>
              <a:t>Typical</a:t>
            </a:r>
            <a:r>
              <a:rPr lang="de-DE" dirty="0" smtClean="0"/>
              <a:t> agile </a:t>
            </a:r>
            <a:r>
              <a:rPr lang="de-DE" dirty="0" err="1" smtClean="0"/>
              <a:t>project</a:t>
            </a:r>
            <a:r>
              <a:rPr lang="de-DE" dirty="0" smtClean="0"/>
              <a:t>:</a:t>
            </a:r>
            <a:br>
              <a:rPr lang="de-DE" dirty="0" smtClean="0"/>
            </a:br>
            <a:r>
              <a:rPr lang="de-DE" dirty="0" err="1" smtClean="0"/>
              <a:t>requirements</a:t>
            </a:r>
            <a:r>
              <a:rPr lang="de-DE" dirty="0" smtClean="0"/>
              <a:t> not </a:t>
            </a:r>
            <a:r>
              <a:rPr lang="de-DE" dirty="0" err="1" smtClean="0"/>
              <a:t>fixed</a:t>
            </a:r>
            <a:r>
              <a:rPr lang="de-DE" dirty="0" smtClean="0"/>
              <a:t> in </a:t>
            </a:r>
            <a:r>
              <a:rPr lang="de-DE" dirty="0" err="1" smtClean="0"/>
              <a:t>the</a:t>
            </a:r>
            <a:r>
              <a:rPr lang="de-DE" dirty="0" smtClean="0"/>
              <a:t> </a:t>
            </a:r>
            <a:r>
              <a:rPr lang="de-DE" dirty="0" err="1" smtClean="0"/>
              <a:t>beginning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41DD31-796B-47D9-8FA7-8CE45BCCA82B}" type="slidenum">
              <a:rPr lang="de-DE" smtClean="0"/>
              <a:pPr>
                <a:defRPr/>
              </a:pPr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52977988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>
          <a:xfrm>
            <a:off x="1026372" y="4781153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cxnSp>
        <p:nvCxnSpPr>
          <p:cNvPr id="16" name="Gerade Verbindung mit Pfeil 15"/>
          <p:cNvCxnSpPr/>
          <p:nvPr/>
        </p:nvCxnSpPr>
        <p:spPr>
          <a:xfrm>
            <a:off x="1762125" y="4848226"/>
            <a:ext cx="1019175" cy="0"/>
          </a:xfrm>
          <a:prstGeom prst="straightConnector1">
            <a:avLst/>
          </a:prstGeom>
          <a:ln w="38100">
            <a:solidFill>
              <a:schemeClr val="accent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16"/>
          <p:cNvSpPr/>
          <p:nvPr/>
        </p:nvSpPr>
        <p:spPr>
          <a:xfrm>
            <a:off x="2844157" y="4776961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cxnSp>
        <p:nvCxnSpPr>
          <p:cNvPr id="18" name="Gerade Verbindung mit Pfeil 17"/>
          <p:cNvCxnSpPr/>
          <p:nvPr/>
        </p:nvCxnSpPr>
        <p:spPr>
          <a:xfrm flipV="1">
            <a:off x="3590925" y="4844778"/>
            <a:ext cx="3714750" cy="3448"/>
          </a:xfrm>
          <a:prstGeom prst="straightConnector1">
            <a:avLst/>
          </a:prstGeom>
          <a:ln w="38100">
            <a:solidFill>
              <a:schemeClr val="accent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3" name="Gruppieren 112"/>
          <p:cNvGrpSpPr>
            <a:grpSpLocks noChangeAspect="1"/>
          </p:cNvGrpSpPr>
          <p:nvPr/>
        </p:nvGrpSpPr>
        <p:grpSpPr>
          <a:xfrm>
            <a:off x="7340500" y="3850176"/>
            <a:ext cx="1022449" cy="1146955"/>
            <a:chOff x="7026176" y="3850176"/>
            <a:chExt cx="900000" cy="1146955"/>
          </a:xfrm>
        </p:grpSpPr>
        <p:sp>
          <p:nvSpPr>
            <p:cNvPr id="61" name="Rechteck 60"/>
            <p:cNvSpPr/>
            <p:nvPr/>
          </p:nvSpPr>
          <p:spPr>
            <a:xfrm>
              <a:off x="7314413" y="3850183"/>
              <a:ext cx="465928" cy="72892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62" name="Rechteck 61"/>
            <p:cNvSpPr/>
            <p:nvPr/>
          </p:nvSpPr>
          <p:spPr>
            <a:xfrm>
              <a:off x="7283351" y="3906254"/>
              <a:ext cx="465928" cy="72892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63" name="Freihandform 62"/>
            <p:cNvSpPr/>
            <p:nvPr/>
          </p:nvSpPr>
          <p:spPr>
            <a:xfrm>
              <a:off x="7283351" y="3850176"/>
              <a:ext cx="496990" cy="57481"/>
            </a:xfrm>
            <a:custGeom>
              <a:avLst/>
              <a:gdLst>
                <a:gd name="connsiteX0" fmla="*/ 85725 w 1157287"/>
                <a:gd name="connsiteY0" fmla="*/ 0 h 95250"/>
                <a:gd name="connsiteX1" fmla="*/ 0 w 1157287"/>
                <a:gd name="connsiteY1" fmla="*/ 95250 h 95250"/>
                <a:gd name="connsiteX2" fmla="*/ 1090612 w 1157287"/>
                <a:gd name="connsiteY2" fmla="*/ 85725 h 95250"/>
                <a:gd name="connsiteX3" fmla="*/ 1157287 w 1157287"/>
                <a:gd name="connsiteY3" fmla="*/ 19050 h 95250"/>
                <a:gd name="connsiteX4" fmla="*/ 85725 w 1157287"/>
                <a:gd name="connsiteY4" fmla="*/ 0 h 95250"/>
                <a:gd name="connsiteX0" fmla="*/ 72008 w 1157287"/>
                <a:gd name="connsiteY0" fmla="*/ 0 h 95250"/>
                <a:gd name="connsiteX1" fmla="*/ 0 w 1157287"/>
                <a:gd name="connsiteY1" fmla="*/ 95250 h 95250"/>
                <a:gd name="connsiteX2" fmla="*/ 1090612 w 1157287"/>
                <a:gd name="connsiteY2" fmla="*/ 85725 h 95250"/>
                <a:gd name="connsiteX3" fmla="*/ 1157287 w 1157287"/>
                <a:gd name="connsiteY3" fmla="*/ 19050 h 95250"/>
                <a:gd name="connsiteX4" fmla="*/ 72008 w 1157287"/>
                <a:gd name="connsiteY4" fmla="*/ 0 h 95250"/>
                <a:gd name="connsiteX0" fmla="*/ 72008 w 1152128"/>
                <a:gd name="connsiteY0" fmla="*/ 0 h 95250"/>
                <a:gd name="connsiteX1" fmla="*/ 0 w 1152128"/>
                <a:gd name="connsiteY1" fmla="*/ 95250 h 95250"/>
                <a:gd name="connsiteX2" fmla="*/ 1090612 w 1152128"/>
                <a:gd name="connsiteY2" fmla="*/ 85725 h 95250"/>
                <a:gd name="connsiteX3" fmla="*/ 1152128 w 1152128"/>
                <a:gd name="connsiteY3" fmla="*/ 0 h 95250"/>
                <a:gd name="connsiteX4" fmla="*/ 72008 w 1152128"/>
                <a:gd name="connsiteY4" fmla="*/ 0 h 95250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88231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28575 h 100012"/>
                <a:gd name="connsiteX4" fmla="*/ 72008 w 1152128"/>
                <a:gd name="connsiteY4" fmla="*/ 0 h 100012"/>
                <a:gd name="connsiteX0" fmla="*/ 62483 w 1152128"/>
                <a:gd name="connsiteY0" fmla="*/ 0 h 73818"/>
                <a:gd name="connsiteX1" fmla="*/ 0 w 1152128"/>
                <a:gd name="connsiteY1" fmla="*/ 69056 h 73818"/>
                <a:gd name="connsiteX2" fmla="*/ 1078706 w 1152128"/>
                <a:gd name="connsiteY2" fmla="*/ 73818 h 73818"/>
                <a:gd name="connsiteX3" fmla="*/ 1152128 w 1152128"/>
                <a:gd name="connsiteY3" fmla="*/ 2381 h 73818"/>
                <a:gd name="connsiteX4" fmla="*/ 62483 w 1152128"/>
                <a:gd name="connsiteY4" fmla="*/ 0 h 7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2128" h="73818">
                  <a:moveTo>
                    <a:pt x="62483" y="0"/>
                  </a:moveTo>
                  <a:lnTo>
                    <a:pt x="0" y="69056"/>
                  </a:lnTo>
                  <a:lnTo>
                    <a:pt x="1078706" y="73818"/>
                  </a:lnTo>
                  <a:lnTo>
                    <a:pt x="1152128" y="2381"/>
                  </a:lnTo>
                  <a:lnTo>
                    <a:pt x="62483" y="0"/>
                  </a:lnTo>
                  <a:close/>
                </a:path>
              </a:pathLst>
            </a:cu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64" name="Freihandform 63"/>
            <p:cNvSpPr/>
            <p:nvPr/>
          </p:nvSpPr>
          <p:spPr>
            <a:xfrm>
              <a:off x="7747343" y="3852269"/>
              <a:ext cx="34582" cy="780633"/>
            </a:xfrm>
            <a:custGeom>
              <a:avLst/>
              <a:gdLst>
                <a:gd name="connsiteX0" fmla="*/ 76200 w 76200"/>
                <a:gd name="connsiteY0" fmla="*/ 0 h 995363"/>
                <a:gd name="connsiteX1" fmla="*/ 4762 w 76200"/>
                <a:gd name="connsiteY1" fmla="*/ 95250 h 995363"/>
                <a:gd name="connsiteX2" fmla="*/ 0 w 76200"/>
                <a:gd name="connsiteY2" fmla="*/ 995363 h 995363"/>
                <a:gd name="connsiteX3" fmla="*/ 76200 w 76200"/>
                <a:gd name="connsiteY3" fmla="*/ 919163 h 995363"/>
                <a:gd name="connsiteX4" fmla="*/ 76200 w 76200"/>
                <a:gd name="connsiteY4" fmla="*/ 0 h 995363"/>
                <a:gd name="connsiteX0" fmla="*/ 80168 w 80168"/>
                <a:gd name="connsiteY0" fmla="*/ 0 h 995363"/>
                <a:gd name="connsiteX1" fmla="*/ 1587 w 80168"/>
                <a:gd name="connsiteY1" fmla="*/ 76200 h 995363"/>
                <a:gd name="connsiteX2" fmla="*/ 3968 w 80168"/>
                <a:gd name="connsiteY2" fmla="*/ 995363 h 995363"/>
                <a:gd name="connsiteX3" fmla="*/ 80168 w 80168"/>
                <a:gd name="connsiteY3" fmla="*/ 919163 h 995363"/>
                <a:gd name="connsiteX4" fmla="*/ 80168 w 80168"/>
                <a:gd name="connsiteY4" fmla="*/ 0 h 995363"/>
                <a:gd name="connsiteX0" fmla="*/ 80168 w 80168"/>
                <a:gd name="connsiteY0" fmla="*/ 0 h 1002507"/>
                <a:gd name="connsiteX1" fmla="*/ 1587 w 80168"/>
                <a:gd name="connsiteY1" fmla="*/ 76200 h 1002507"/>
                <a:gd name="connsiteX2" fmla="*/ 3968 w 80168"/>
                <a:gd name="connsiteY2" fmla="*/ 1002507 h 1002507"/>
                <a:gd name="connsiteX3" fmla="*/ 80168 w 80168"/>
                <a:gd name="connsiteY3" fmla="*/ 919163 h 1002507"/>
                <a:gd name="connsiteX4" fmla="*/ 80168 w 80168"/>
                <a:gd name="connsiteY4" fmla="*/ 0 h 1002507"/>
                <a:gd name="connsiteX0" fmla="*/ 80168 w 80168"/>
                <a:gd name="connsiteY0" fmla="*/ 0 h 1002507"/>
                <a:gd name="connsiteX1" fmla="*/ 1587 w 80168"/>
                <a:gd name="connsiteY1" fmla="*/ 76200 h 1002507"/>
                <a:gd name="connsiteX2" fmla="*/ 3968 w 80168"/>
                <a:gd name="connsiteY2" fmla="*/ 1002507 h 1002507"/>
                <a:gd name="connsiteX3" fmla="*/ 77786 w 80168"/>
                <a:gd name="connsiteY3" fmla="*/ 928688 h 1002507"/>
                <a:gd name="connsiteX4" fmla="*/ 80168 w 80168"/>
                <a:gd name="connsiteY4" fmla="*/ 0 h 1002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168" h="1002507">
                  <a:moveTo>
                    <a:pt x="80168" y="0"/>
                  </a:moveTo>
                  <a:lnTo>
                    <a:pt x="1587" y="76200"/>
                  </a:lnTo>
                  <a:cubicBezTo>
                    <a:pt x="0" y="376238"/>
                    <a:pt x="5555" y="702469"/>
                    <a:pt x="3968" y="1002507"/>
                  </a:cubicBezTo>
                  <a:lnTo>
                    <a:pt x="77786" y="928688"/>
                  </a:lnTo>
                  <a:lnTo>
                    <a:pt x="80168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56" name="Rechteck 55"/>
            <p:cNvSpPr/>
            <p:nvPr/>
          </p:nvSpPr>
          <p:spPr>
            <a:xfrm>
              <a:off x="7195305" y="4031158"/>
              <a:ext cx="679560" cy="72892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57" name="Rechteck 56"/>
            <p:cNvSpPr/>
            <p:nvPr/>
          </p:nvSpPr>
          <p:spPr>
            <a:xfrm>
              <a:off x="7150001" y="4087229"/>
              <a:ext cx="679560" cy="72892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58" name="Freihandform 57"/>
            <p:cNvSpPr/>
            <p:nvPr/>
          </p:nvSpPr>
          <p:spPr>
            <a:xfrm>
              <a:off x="7150002" y="4031151"/>
              <a:ext cx="724864" cy="57481"/>
            </a:xfrm>
            <a:custGeom>
              <a:avLst/>
              <a:gdLst>
                <a:gd name="connsiteX0" fmla="*/ 85725 w 1157287"/>
                <a:gd name="connsiteY0" fmla="*/ 0 h 95250"/>
                <a:gd name="connsiteX1" fmla="*/ 0 w 1157287"/>
                <a:gd name="connsiteY1" fmla="*/ 95250 h 95250"/>
                <a:gd name="connsiteX2" fmla="*/ 1090612 w 1157287"/>
                <a:gd name="connsiteY2" fmla="*/ 85725 h 95250"/>
                <a:gd name="connsiteX3" fmla="*/ 1157287 w 1157287"/>
                <a:gd name="connsiteY3" fmla="*/ 19050 h 95250"/>
                <a:gd name="connsiteX4" fmla="*/ 85725 w 1157287"/>
                <a:gd name="connsiteY4" fmla="*/ 0 h 95250"/>
                <a:gd name="connsiteX0" fmla="*/ 72008 w 1157287"/>
                <a:gd name="connsiteY0" fmla="*/ 0 h 95250"/>
                <a:gd name="connsiteX1" fmla="*/ 0 w 1157287"/>
                <a:gd name="connsiteY1" fmla="*/ 95250 h 95250"/>
                <a:gd name="connsiteX2" fmla="*/ 1090612 w 1157287"/>
                <a:gd name="connsiteY2" fmla="*/ 85725 h 95250"/>
                <a:gd name="connsiteX3" fmla="*/ 1157287 w 1157287"/>
                <a:gd name="connsiteY3" fmla="*/ 19050 h 95250"/>
                <a:gd name="connsiteX4" fmla="*/ 72008 w 1157287"/>
                <a:gd name="connsiteY4" fmla="*/ 0 h 95250"/>
                <a:gd name="connsiteX0" fmla="*/ 72008 w 1152128"/>
                <a:gd name="connsiteY0" fmla="*/ 0 h 95250"/>
                <a:gd name="connsiteX1" fmla="*/ 0 w 1152128"/>
                <a:gd name="connsiteY1" fmla="*/ 95250 h 95250"/>
                <a:gd name="connsiteX2" fmla="*/ 1090612 w 1152128"/>
                <a:gd name="connsiteY2" fmla="*/ 85725 h 95250"/>
                <a:gd name="connsiteX3" fmla="*/ 1152128 w 1152128"/>
                <a:gd name="connsiteY3" fmla="*/ 0 h 95250"/>
                <a:gd name="connsiteX4" fmla="*/ 72008 w 1152128"/>
                <a:gd name="connsiteY4" fmla="*/ 0 h 95250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88231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28575 h 100012"/>
                <a:gd name="connsiteX4" fmla="*/ 72008 w 1152128"/>
                <a:gd name="connsiteY4" fmla="*/ 0 h 100012"/>
                <a:gd name="connsiteX0" fmla="*/ 62483 w 1152128"/>
                <a:gd name="connsiteY0" fmla="*/ 0 h 73818"/>
                <a:gd name="connsiteX1" fmla="*/ 0 w 1152128"/>
                <a:gd name="connsiteY1" fmla="*/ 69056 h 73818"/>
                <a:gd name="connsiteX2" fmla="*/ 1078706 w 1152128"/>
                <a:gd name="connsiteY2" fmla="*/ 73818 h 73818"/>
                <a:gd name="connsiteX3" fmla="*/ 1152128 w 1152128"/>
                <a:gd name="connsiteY3" fmla="*/ 2381 h 73818"/>
                <a:gd name="connsiteX4" fmla="*/ 62483 w 1152128"/>
                <a:gd name="connsiteY4" fmla="*/ 0 h 7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2128" h="73818">
                  <a:moveTo>
                    <a:pt x="62483" y="0"/>
                  </a:moveTo>
                  <a:lnTo>
                    <a:pt x="0" y="69056"/>
                  </a:lnTo>
                  <a:lnTo>
                    <a:pt x="1078706" y="73818"/>
                  </a:lnTo>
                  <a:lnTo>
                    <a:pt x="1152128" y="2381"/>
                  </a:lnTo>
                  <a:lnTo>
                    <a:pt x="62483" y="0"/>
                  </a:lnTo>
                  <a:close/>
                </a:path>
              </a:pathLst>
            </a:cu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59" name="Freihandform 58"/>
            <p:cNvSpPr/>
            <p:nvPr/>
          </p:nvSpPr>
          <p:spPr>
            <a:xfrm>
              <a:off x="7826737" y="4033244"/>
              <a:ext cx="50438" cy="780633"/>
            </a:xfrm>
            <a:custGeom>
              <a:avLst/>
              <a:gdLst>
                <a:gd name="connsiteX0" fmla="*/ 76200 w 76200"/>
                <a:gd name="connsiteY0" fmla="*/ 0 h 995363"/>
                <a:gd name="connsiteX1" fmla="*/ 4762 w 76200"/>
                <a:gd name="connsiteY1" fmla="*/ 95250 h 995363"/>
                <a:gd name="connsiteX2" fmla="*/ 0 w 76200"/>
                <a:gd name="connsiteY2" fmla="*/ 995363 h 995363"/>
                <a:gd name="connsiteX3" fmla="*/ 76200 w 76200"/>
                <a:gd name="connsiteY3" fmla="*/ 919163 h 995363"/>
                <a:gd name="connsiteX4" fmla="*/ 76200 w 76200"/>
                <a:gd name="connsiteY4" fmla="*/ 0 h 995363"/>
                <a:gd name="connsiteX0" fmla="*/ 80168 w 80168"/>
                <a:gd name="connsiteY0" fmla="*/ 0 h 995363"/>
                <a:gd name="connsiteX1" fmla="*/ 1587 w 80168"/>
                <a:gd name="connsiteY1" fmla="*/ 76200 h 995363"/>
                <a:gd name="connsiteX2" fmla="*/ 3968 w 80168"/>
                <a:gd name="connsiteY2" fmla="*/ 995363 h 995363"/>
                <a:gd name="connsiteX3" fmla="*/ 80168 w 80168"/>
                <a:gd name="connsiteY3" fmla="*/ 919163 h 995363"/>
                <a:gd name="connsiteX4" fmla="*/ 80168 w 80168"/>
                <a:gd name="connsiteY4" fmla="*/ 0 h 995363"/>
                <a:gd name="connsiteX0" fmla="*/ 80168 w 80168"/>
                <a:gd name="connsiteY0" fmla="*/ 0 h 1002507"/>
                <a:gd name="connsiteX1" fmla="*/ 1587 w 80168"/>
                <a:gd name="connsiteY1" fmla="*/ 76200 h 1002507"/>
                <a:gd name="connsiteX2" fmla="*/ 3968 w 80168"/>
                <a:gd name="connsiteY2" fmla="*/ 1002507 h 1002507"/>
                <a:gd name="connsiteX3" fmla="*/ 80168 w 80168"/>
                <a:gd name="connsiteY3" fmla="*/ 919163 h 1002507"/>
                <a:gd name="connsiteX4" fmla="*/ 80168 w 80168"/>
                <a:gd name="connsiteY4" fmla="*/ 0 h 1002507"/>
                <a:gd name="connsiteX0" fmla="*/ 80168 w 80168"/>
                <a:gd name="connsiteY0" fmla="*/ 0 h 1002507"/>
                <a:gd name="connsiteX1" fmla="*/ 1587 w 80168"/>
                <a:gd name="connsiteY1" fmla="*/ 76200 h 1002507"/>
                <a:gd name="connsiteX2" fmla="*/ 3968 w 80168"/>
                <a:gd name="connsiteY2" fmla="*/ 1002507 h 1002507"/>
                <a:gd name="connsiteX3" fmla="*/ 77786 w 80168"/>
                <a:gd name="connsiteY3" fmla="*/ 928688 h 1002507"/>
                <a:gd name="connsiteX4" fmla="*/ 80168 w 80168"/>
                <a:gd name="connsiteY4" fmla="*/ 0 h 1002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168" h="1002507">
                  <a:moveTo>
                    <a:pt x="80168" y="0"/>
                  </a:moveTo>
                  <a:lnTo>
                    <a:pt x="1587" y="76200"/>
                  </a:lnTo>
                  <a:cubicBezTo>
                    <a:pt x="0" y="376238"/>
                    <a:pt x="5555" y="702469"/>
                    <a:pt x="3968" y="1002507"/>
                  </a:cubicBezTo>
                  <a:lnTo>
                    <a:pt x="77786" y="928688"/>
                  </a:lnTo>
                  <a:lnTo>
                    <a:pt x="80168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7082247" y="4212133"/>
              <a:ext cx="841069" cy="72892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7026176" y="4268204"/>
              <a:ext cx="841069" cy="72892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 smtClean="0">
                  <a:solidFill>
                    <a:srgbClr val="1F497D">
                      <a:lumMod val="50000"/>
                    </a:srgbClr>
                  </a:solidFill>
                </a:rPr>
                <a:t>Working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 smtClean="0">
                  <a:solidFill>
                    <a:srgbClr val="1F497D">
                      <a:lumMod val="50000"/>
                    </a:srgbClr>
                  </a:solidFill>
                </a:rPr>
                <a:t>Software</a:t>
              </a:r>
              <a:endParaRPr lang="de-DE" sz="1400" dirty="0">
                <a:solidFill>
                  <a:srgbClr val="1F497D">
                    <a:lumMod val="50000"/>
                  </a:srgbClr>
                </a:solidFill>
              </a:endParaRPr>
            </a:p>
          </p:txBody>
        </p:sp>
        <p:sp>
          <p:nvSpPr>
            <p:cNvPr id="27" name="Freihandform 26"/>
            <p:cNvSpPr/>
            <p:nvPr/>
          </p:nvSpPr>
          <p:spPr>
            <a:xfrm>
              <a:off x="7026177" y="4212126"/>
              <a:ext cx="897141" cy="57481"/>
            </a:xfrm>
            <a:custGeom>
              <a:avLst/>
              <a:gdLst>
                <a:gd name="connsiteX0" fmla="*/ 85725 w 1157287"/>
                <a:gd name="connsiteY0" fmla="*/ 0 h 95250"/>
                <a:gd name="connsiteX1" fmla="*/ 0 w 1157287"/>
                <a:gd name="connsiteY1" fmla="*/ 95250 h 95250"/>
                <a:gd name="connsiteX2" fmla="*/ 1090612 w 1157287"/>
                <a:gd name="connsiteY2" fmla="*/ 85725 h 95250"/>
                <a:gd name="connsiteX3" fmla="*/ 1157287 w 1157287"/>
                <a:gd name="connsiteY3" fmla="*/ 19050 h 95250"/>
                <a:gd name="connsiteX4" fmla="*/ 85725 w 1157287"/>
                <a:gd name="connsiteY4" fmla="*/ 0 h 95250"/>
                <a:gd name="connsiteX0" fmla="*/ 72008 w 1157287"/>
                <a:gd name="connsiteY0" fmla="*/ 0 h 95250"/>
                <a:gd name="connsiteX1" fmla="*/ 0 w 1157287"/>
                <a:gd name="connsiteY1" fmla="*/ 95250 h 95250"/>
                <a:gd name="connsiteX2" fmla="*/ 1090612 w 1157287"/>
                <a:gd name="connsiteY2" fmla="*/ 85725 h 95250"/>
                <a:gd name="connsiteX3" fmla="*/ 1157287 w 1157287"/>
                <a:gd name="connsiteY3" fmla="*/ 19050 h 95250"/>
                <a:gd name="connsiteX4" fmla="*/ 72008 w 1157287"/>
                <a:gd name="connsiteY4" fmla="*/ 0 h 95250"/>
                <a:gd name="connsiteX0" fmla="*/ 72008 w 1152128"/>
                <a:gd name="connsiteY0" fmla="*/ 0 h 95250"/>
                <a:gd name="connsiteX1" fmla="*/ 0 w 1152128"/>
                <a:gd name="connsiteY1" fmla="*/ 95250 h 95250"/>
                <a:gd name="connsiteX2" fmla="*/ 1090612 w 1152128"/>
                <a:gd name="connsiteY2" fmla="*/ 85725 h 95250"/>
                <a:gd name="connsiteX3" fmla="*/ 1152128 w 1152128"/>
                <a:gd name="connsiteY3" fmla="*/ 0 h 95250"/>
                <a:gd name="connsiteX4" fmla="*/ 72008 w 1152128"/>
                <a:gd name="connsiteY4" fmla="*/ 0 h 95250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88231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28575 h 100012"/>
                <a:gd name="connsiteX4" fmla="*/ 72008 w 1152128"/>
                <a:gd name="connsiteY4" fmla="*/ 0 h 100012"/>
                <a:gd name="connsiteX0" fmla="*/ 62483 w 1152128"/>
                <a:gd name="connsiteY0" fmla="*/ 0 h 73818"/>
                <a:gd name="connsiteX1" fmla="*/ 0 w 1152128"/>
                <a:gd name="connsiteY1" fmla="*/ 69056 h 73818"/>
                <a:gd name="connsiteX2" fmla="*/ 1078706 w 1152128"/>
                <a:gd name="connsiteY2" fmla="*/ 73818 h 73818"/>
                <a:gd name="connsiteX3" fmla="*/ 1152128 w 1152128"/>
                <a:gd name="connsiteY3" fmla="*/ 2381 h 73818"/>
                <a:gd name="connsiteX4" fmla="*/ 62483 w 1152128"/>
                <a:gd name="connsiteY4" fmla="*/ 0 h 7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2128" h="73818">
                  <a:moveTo>
                    <a:pt x="62483" y="0"/>
                  </a:moveTo>
                  <a:lnTo>
                    <a:pt x="0" y="69056"/>
                  </a:lnTo>
                  <a:lnTo>
                    <a:pt x="1078706" y="73818"/>
                  </a:lnTo>
                  <a:lnTo>
                    <a:pt x="1152128" y="2381"/>
                  </a:lnTo>
                  <a:lnTo>
                    <a:pt x="62483" y="0"/>
                  </a:lnTo>
                  <a:close/>
                </a:path>
              </a:pathLst>
            </a:cu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28" name="Freihandform 27"/>
            <p:cNvSpPr/>
            <p:nvPr/>
          </p:nvSpPr>
          <p:spPr>
            <a:xfrm>
              <a:off x="7863751" y="4214219"/>
              <a:ext cx="62425" cy="780633"/>
            </a:xfrm>
            <a:custGeom>
              <a:avLst/>
              <a:gdLst>
                <a:gd name="connsiteX0" fmla="*/ 76200 w 76200"/>
                <a:gd name="connsiteY0" fmla="*/ 0 h 995363"/>
                <a:gd name="connsiteX1" fmla="*/ 4762 w 76200"/>
                <a:gd name="connsiteY1" fmla="*/ 95250 h 995363"/>
                <a:gd name="connsiteX2" fmla="*/ 0 w 76200"/>
                <a:gd name="connsiteY2" fmla="*/ 995363 h 995363"/>
                <a:gd name="connsiteX3" fmla="*/ 76200 w 76200"/>
                <a:gd name="connsiteY3" fmla="*/ 919163 h 995363"/>
                <a:gd name="connsiteX4" fmla="*/ 76200 w 76200"/>
                <a:gd name="connsiteY4" fmla="*/ 0 h 995363"/>
                <a:gd name="connsiteX0" fmla="*/ 80168 w 80168"/>
                <a:gd name="connsiteY0" fmla="*/ 0 h 995363"/>
                <a:gd name="connsiteX1" fmla="*/ 1587 w 80168"/>
                <a:gd name="connsiteY1" fmla="*/ 76200 h 995363"/>
                <a:gd name="connsiteX2" fmla="*/ 3968 w 80168"/>
                <a:gd name="connsiteY2" fmla="*/ 995363 h 995363"/>
                <a:gd name="connsiteX3" fmla="*/ 80168 w 80168"/>
                <a:gd name="connsiteY3" fmla="*/ 919163 h 995363"/>
                <a:gd name="connsiteX4" fmla="*/ 80168 w 80168"/>
                <a:gd name="connsiteY4" fmla="*/ 0 h 995363"/>
                <a:gd name="connsiteX0" fmla="*/ 80168 w 80168"/>
                <a:gd name="connsiteY0" fmla="*/ 0 h 1002507"/>
                <a:gd name="connsiteX1" fmla="*/ 1587 w 80168"/>
                <a:gd name="connsiteY1" fmla="*/ 76200 h 1002507"/>
                <a:gd name="connsiteX2" fmla="*/ 3968 w 80168"/>
                <a:gd name="connsiteY2" fmla="*/ 1002507 h 1002507"/>
                <a:gd name="connsiteX3" fmla="*/ 80168 w 80168"/>
                <a:gd name="connsiteY3" fmla="*/ 919163 h 1002507"/>
                <a:gd name="connsiteX4" fmla="*/ 80168 w 80168"/>
                <a:gd name="connsiteY4" fmla="*/ 0 h 1002507"/>
                <a:gd name="connsiteX0" fmla="*/ 80168 w 80168"/>
                <a:gd name="connsiteY0" fmla="*/ 0 h 1002507"/>
                <a:gd name="connsiteX1" fmla="*/ 1587 w 80168"/>
                <a:gd name="connsiteY1" fmla="*/ 76200 h 1002507"/>
                <a:gd name="connsiteX2" fmla="*/ 3968 w 80168"/>
                <a:gd name="connsiteY2" fmla="*/ 1002507 h 1002507"/>
                <a:gd name="connsiteX3" fmla="*/ 77786 w 80168"/>
                <a:gd name="connsiteY3" fmla="*/ 928688 h 1002507"/>
                <a:gd name="connsiteX4" fmla="*/ 80168 w 80168"/>
                <a:gd name="connsiteY4" fmla="*/ 0 h 1002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168" h="1002507">
                  <a:moveTo>
                    <a:pt x="80168" y="0"/>
                  </a:moveTo>
                  <a:lnTo>
                    <a:pt x="1587" y="76200"/>
                  </a:lnTo>
                  <a:cubicBezTo>
                    <a:pt x="0" y="376238"/>
                    <a:pt x="5555" y="702469"/>
                    <a:pt x="3968" y="1002507"/>
                  </a:cubicBezTo>
                  <a:lnTo>
                    <a:pt x="77786" y="928688"/>
                  </a:lnTo>
                  <a:lnTo>
                    <a:pt x="80168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</p:grpSp>
      <p:sp>
        <p:nvSpPr>
          <p:cNvPr id="30" name="Rechteck 29"/>
          <p:cNvSpPr/>
          <p:nvPr/>
        </p:nvSpPr>
        <p:spPr>
          <a:xfrm>
            <a:off x="6924675" y="785805"/>
            <a:ext cx="438150" cy="86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900" b="0" dirty="0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6970989" y="1064580"/>
            <a:ext cx="339452" cy="25223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6970987" y="1345567"/>
            <a:ext cx="339452" cy="25223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35" name="Ellipse 34"/>
          <p:cNvSpPr/>
          <p:nvPr/>
        </p:nvSpPr>
        <p:spPr>
          <a:xfrm>
            <a:off x="5591175" y="4676775"/>
            <a:ext cx="66675" cy="66675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36" name="Ellipse 35"/>
          <p:cNvSpPr>
            <a:spLocks noChangeAspect="1"/>
          </p:cNvSpPr>
          <p:nvPr/>
        </p:nvSpPr>
        <p:spPr>
          <a:xfrm>
            <a:off x="5705474" y="4505324"/>
            <a:ext cx="108000" cy="108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37" name="Ellipse 36"/>
          <p:cNvSpPr>
            <a:spLocks noChangeAspect="1"/>
          </p:cNvSpPr>
          <p:nvPr/>
        </p:nvSpPr>
        <p:spPr>
          <a:xfrm>
            <a:off x="5800723" y="4333873"/>
            <a:ext cx="144000" cy="144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38" name="Ellipse 37"/>
          <p:cNvSpPr>
            <a:spLocks noChangeAspect="1"/>
          </p:cNvSpPr>
          <p:nvPr/>
        </p:nvSpPr>
        <p:spPr>
          <a:xfrm>
            <a:off x="5867397" y="4105272"/>
            <a:ext cx="180000" cy="180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44" name="Ellipse 43"/>
          <p:cNvSpPr>
            <a:spLocks noChangeAspect="1"/>
          </p:cNvSpPr>
          <p:nvPr/>
        </p:nvSpPr>
        <p:spPr>
          <a:xfrm>
            <a:off x="5876922" y="3829047"/>
            <a:ext cx="216000" cy="216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45" name="Ellipse 44"/>
          <p:cNvSpPr>
            <a:spLocks noChangeAspect="1"/>
          </p:cNvSpPr>
          <p:nvPr/>
        </p:nvSpPr>
        <p:spPr>
          <a:xfrm>
            <a:off x="5829297" y="3524247"/>
            <a:ext cx="234000" cy="234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46" name="Ellipse 45"/>
          <p:cNvSpPr>
            <a:spLocks noChangeAspect="1"/>
          </p:cNvSpPr>
          <p:nvPr/>
        </p:nvSpPr>
        <p:spPr>
          <a:xfrm>
            <a:off x="5686422" y="3238497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47" name="Ellipse 46"/>
          <p:cNvSpPr>
            <a:spLocks noChangeAspect="1"/>
          </p:cNvSpPr>
          <p:nvPr/>
        </p:nvSpPr>
        <p:spPr>
          <a:xfrm>
            <a:off x="5429247" y="3000372"/>
            <a:ext cx="288000" cy="288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48" name="Ellipse 47"/>
          <p:cNvSpPr>
            <a:spLocks noChangeAspect="1"/>
          </p:cNvSpPr>
          <p:nvPr/>
        </p:nvSpPr>
        <p:spPr>
          <a:xfrm>
            <a:off x="5086347" y="2800347"/>
            <a:ext cx="324000" cy="324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49" name="Ellipse 48"/>
          <p:cNvSpPr>
            <a:spLocks noChangeAspect="1"/>
          </p:cNvSpPr>
          <p:nvPr/>
        </p:nvSpPr>
        <p:spPr>
          <a:xfrm>
            <a:off x="4657722" y="2762247"/>
            <a:ext cx="360000" cy="360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50" name="Ellipse 49"/>
          <p:cNvSpPr>
            <a:spLocks noChangeAspect="1"/>
          </p:cNvSpPr>
          <p:nvPr/>
        </p:nvSpPr>
        <p:spPr>
          <a:xfrm>
            <a:off x="4229097" y="2876547"/>
            <a:ext cx="396000" cy="396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51" name="Ellipse 50"/>
          <p:cNvSpPr>
            <a:spLocks noChangeAspect="1"/>
          </p:cNvSpPr>
          <p:nvPr/>
        </p:nvSpPr>
        <p:spPr>
          <a:xfrm>
            <a:off x="3876672" y="3168450"/>
            <a:ext cx="432000" cy="43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52" name="Ellipse 51"/>
          <p:cNvSpPr>
            <a:spLocks noChangeAspect="1"/>
          </p:cNvSpPr>
          <p:nvPr/>
        </p:nvSpPr>
        <p:spPr>
          <a:xfrm>
            <a:off x="3667122" y="3650853"/>
            <a:ext cx="468000" cy="468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53" name="Ellipse 52"/>
          <p:cNvSpPr>
            <a:spLocks noChangeAspect="1"/>
          </p:cNvSpPr>
          <p:nvPr/>
        </p:nvSpPr>
        <p:spPr>
          <a:xfrm>
            <a:off x="3724272" y="4228506"/>
            <a:ext cx="504000" cy="504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grpSp>
        <p:nvGrpSpPr>
          <p:cNvPr id="125" name="Gruppieren 124"/>
          <p:cNvGrpSpPr>
            <a:grpSpLocks noChangeAspect="1"/>
          </p:cNvGrpSpPr>
          <p:nvPr/>
        </p:nvGrpSpPr>
        <p:grpSpPr>
          <a:xfrm>
            <a:off x="5279238" y="809607"/>
            <a:ext cx="1509555" cy="900000"/>
            <a:chOff x="5479264" y="1085832"/>
            <a:chExt cx="907249" cy="540904"/>
          </a:xfrm>
        </p:grpSpPr>
        <p:cxnSp>
          <p:nvCxnSpPr>
            <p:cNvPr id="66" name="Gerade Verbindung 65"/>
            <p:cNvCxnSpPr/>
            <p:nvPr/>
          </p:nvCxnSpPr>
          <p:spPr>
            <a:xfrm>
              <a:off x="5534033" y="1085832"/>
              <a:ext cx="0" cy="54000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/>
          </p:nvCxnSpPr>
          <p:spPr>
            <a:xfrm>
              <a:off x="5479264" y="1583536"/>
              <a:ext cx="907249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>
            <a:xfrm>
              <a:off x="5488788" y="1440664"/>
              <a:ext cx="4320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>
            <a:xfrm>
              <a:off x="5488790" y="1295409"/>
              <a:ext cx="4320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/>
          </p:nvCxnSpPr>
          <p:spPr>
            <a:xfrm>
              <a:off x="5488789" y="1152534"/>
              <a:ext cx="4320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/>
          </p:nvCxnSpPr>
          <p:spPr>
            <a:xfrm>
              <a:off x="5755480" y="1583536"/>
              <a:ext cx="0" cy="4320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/>
          </p:nvCxnSpPr>
          <p:spPr>
            <a:xfrm>
              <a:off x="6184081" y="1583536"/>
              <a:ext cx="0" cy="4320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/>
          </p:nvCxnSpPr>
          <p:spPr>
            <a:xfrm>
              <a:off x="5969810" y="1583536"/>
              <a:ext cx="0" cy="4320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Freihandform 86"/>
            <p:cNvSpPr/>
            <p:nvPr/>
          </p:nvSpPr>
          <p:spPr>
            <a:xfrm>
              <a:off x="5534025" y="1147762"/>
              <a:ext cx="431006" cy="433389"/>
            </a:xfrm>
            <a:custGeom>
              <a:avLst/>
              <a:gdLst>
                <a:gd name="connsiteX0" fmla="*/ 0 w 431006"/>
                <a:gd name="connsiteY0" fmla="*/ 571500 h 571500"/>
                <a:gd name="connsiteX1" fmla="*/ 0 w 431006"/>
                <a:gd name="connsiteY1" fmla="*/ 0 h 571500"/>
                <a:gd name="connsiteX2" fmla="*/ 431006 w 431006"/>
                <a:gd name="connsiteY2" fmla="*/ 278607 h 571500"/>
                <a:gd name="connsiteX3" fmla="*/ 431006 w 431006"/>
                <a:gd name="connsiteY3" fmla="*/ 569119 h 571500"/>
                <a:gd name="connsiteX4" fmla="*/ 0 w 431006"/>
                <a:gd name="connsiteY4" fmla="*/ 571500 h 571500"/>
                <a:gd name="connsiteX0" fmla="*/ 0 w 431006"/>
                <a:gd name="connsiteY0" fmla="*/ 571500 h 571500"/>
                <a:gd name="connsiteX1" fmla="*/ 0 w 431006"/>
                <a:gd name="connsiteY1" fmla="*/ 0 h 571500"/>
                <a:gd name="connsiteX2" fmla="*/ 431006 w 431006"/>
                <a:gd name="connsiteY2" fmla="*/ 325709 h 571500"/>
                <a:gd name="connsiteX3" fmla="*/ 431006 w 431006"/>
                <a:gd name="connsiteY3" fmla="*/ 569119 h 571500"/>
                <a:gd name="connsiteX4" fmla="*/ 0 w 431006"/>
                <a:gd name="connsiteY4" fmla="*/ 57150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1006" h="571500">
                  <a:moveTo>
                    <a:pt x="0" y="571500"/>
                  </a:moveTo>
                  <a:lnTo>
                    <a:pt x="0" y="0"/>
                  </a:lnTo>
                  <a:lnTo>
                    <a:pt x="431006" y="325709"/>
                  </a:lnTo>
                  <a:lnTo>
                    <a:pt x="431006" y="569119"/>
                  </a:lnTo>
                  <a:lnTo>
                    <a:pt x="0" y="57150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cxnSp>
          <p:nvCxnSpPr>
            <p:cNvPr id="89" name="Gerade Verbindung 88"/>
            <p:cNvCxnSpPr>
              <a:stCxn id="87" idx="1"/>
            </p:cNvCxnSpPr>
            <p:nvPr/>
          </p:nvCxnSpPr>
          <p:spPr>
            <a:xfrm>
              <a:off x="5534025" y="1147762"/>
              <a:ext cx="736758" cy="433388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Textfeld 100"/>
          <p:cNvSpPr txBox="1"/>
          <p:nvPr/>
        </p:nvSpPr>
        <p:spPr>
          <a:xfrm>
            <a:off x="6912767" y="833428"/>
            <a:ext cx="45878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0" dirty="0" err="1" smtClean="0">
                <a:solidFill>
                  <a:srgbClr val="1F497D">
                    <a:lumMod val="50000"/>
                  </a:srgbClr>
                </a:solidFill>
                <a:latin typeface="Calibri"/>
                <a:cs typeface="+mn-cs"/>
              </a:rPr>
              <a:t>To</a:t>
            </a:r>
            <a:r>
              <a:rPr lang="de-DE" sz="900" b="0" dirty="0" smtClean="0">
                <a:solidFill>
                  <a:srgbClr val="1F497D">
                    <a:lumMod val="50000"/>
                  </a:srgbClr>
                </a:solidFill>
                <a:latin typeface="Calibri"/>
                <a:cs typeface="+mn-cs"/>
              </a:rPr>
              <a:t> Do</a:t>
            </a:r>
            <a:endParaRPr lang="de-DE" sz="900" b="0" dirty="0">
              <a:solidFill>
                <a:srgbClr val="1F497D">
                  <a:lumMod val="50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7936616" y="783440"/>
            <a:ext cx="438150" cy="86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900" b="0" dirty="0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7982930" y="1062215"/>
            <a:ext cx="339452" cy="25223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7982928" y="1343202"/>
            <a:ext cx="339452" cy="25223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05" name="Textfeld 104"/>
          <p:cNvSpPr txBox="1"/>
          <p:nvPr/>
        </p:nvSpPr>
        <p:spPr>
          <a:xfrm>
            <a:off x="7936613" y="828678"/>
            <a:ext cx="43473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0" dirty="0" err="1" smtClean="0">
                <a:solidFill>
                  <a:srgbClr val="1F497D">
                    <a:lumMod val="50000"/>
                  </a:srgbClr>
                </a:solidFill>
                <a:latin typeface="Calibri"/>
                <a:cs typeface="+mn-cs"/>
              </a:rPr>
              <a:t>Done</a:t>
            </a:r>
            <a:endParaRPr lang="de-DE" sz="900" b="0" dirty="0">
              <a:solidFill>
                <a:srgbClr val="1F497D">
                  <a:lumMod val="50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7434241" y="788181"/>
            <a:ext cx="438150" cy="86204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900" b="0" dirty="0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7480555" y="1059850"/>
            <a:ext cx="339452" cy="25223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7480553" y="1340837"/>
            <a:ext cx="339452" cy="25223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09" name="Textfeld 108"/>
          <p:cNvSpPr txBox="1"/>
          <p:nvPr/>
        </p:nvSpPr>
        <p:spPr>
          <a:xfrm>
            <a:off x="7355665" y="783463"/>
            <a:ext cx="587019" cy="3023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900" b="0" dirty="0" smtClean="0">
                <a:solidFill>
                  <a:srgbClr val="1F497D">
                    <a:lumMod val="50000"/>
                  </a:srgbClr>
                </a:solidFill>
                <a:latin typeface="Calibri"/>
                <a:cs typeface="+mn-cs"/>
              </a:rPr>
              <a:t>In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900" b="0" dirty="0" smtClean="0">
                <a:solidFill>
                  <a:srgbClr val="1F497D">
                    <a:lumMod val="50000"/>
                  </a:srgbClr>
                </a:solidFill>
                <a:latin typeface="Calibri"/>
                <a:cs typeface="+mn-cs"/>
              </a:rPr>
              <a:t>Progress</a:t>
            </a:r>
            <a:endParaRPr lang="de-DE" sz="900" b="0" dirty="0">
              <a:solidFill>
                <a:srgbClr val="1F497D">
                  <a:lumMod val="50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10" name="Gebogener Pfeil 109"/>
          <p:cNvSpPr>
            <a:spLocks noChangeAspect="1"/>
          </p:cNvSpPr>
          <p:nvPr/>
        </p:nvSpPr>
        <p:spPr>
          <a:xfrm rot="18215211" flipH="1">
            <a:off x="4069225" y="3096687"/>
            <a:ext cx="1800000" cy="1800000"/>
          </a:xfrm>
          <a:prstGeom prst="circularArrow">
            <a:avLst>
              <a:gd name="adj1" fmla="val 1977"/>
              <a:gd name="adj2" fmla="val 896924"/>
              <a:gd name="adj3" fmla="val 20470880"/>
              <a:gd name="adj4" fmla="val 3068357"/>
              <a:gd name="adj5" fmla="val 5578"/>
            </a:avLst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  <a:effectLst>
            <a:outerShdw blurRad="50800" dist="25400" dir="16200000" sx="101000" sy="101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black"/>
              </a:solidFill>
            </a:endParaRPr>
          </a:p>
        </p:txBody>
      </p:sp>
      <p:sp>
        <p:nvSpPr>
          <p:cNvPr id="111" name="Gebogener Pfeil 110"/>
          <p:cNvSpPr>
            <a:spLocks noChangeAspect="1"/>
          </p:cNvSpPr>
          <p:nvPr/>
        </p:nvSpPr>
        <p:spPr>
          <a:xfrm rot="19730638" flipH="1">
            <a:off x="2092338" y="4288754"/>
            <a:ext cx="540000" cy="540000"/>
          </a:xfrm>
          <a:prstGeom prst="circularArrow">
            <a:avLst>
              <a:gd name="adj1" fmla="val 1977"/>
              <a:gd name="adj2" fmla="val 896924"/>
              <a:gd name="adj3" fmla="val 20470880"/>
              <a:gd name="adj4" fmla="val 3068357"/>
              <a:gd name="adj5" fmla="val 5578"/>
            </a:avLst>
          </a:prstGeom>
          <a:solidFill>
            <a:schemeClr val="accent1">
              <a:lumMod val="75000"/>
            </a:schemeClr>
          </a:solidFill>
          <a:effectLst>
            <a:outerShdw blurRad="50800" dist="25400" dir="16200000" sx="101000" sy="101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black"/>
              </a:solidFill>
            </a:endParaRPr>
          </a:p>
        </p:txBody>
      </p:sp>
      <p:sp>
        <p:nvSpPr>
          <p:cNvPr id="112" name="Gebogener Pfeil 111"/>
          <p:cNvSpPr>
            <a:spLocks noChangeAspect="1"/>
          </p:cNvSpPr>
          <p:nvPr/>
        </p:nvSpPr>
        <p:spPr>
          <a:xfrm rot="19730638" flipH="1">
            <a:off x="6340488" y="4288754"/>
            <a:ext cx="540000" cy="540000"/>
          </a:xfrm>
          <a:prstGeom prst="circularArrow">
            <a:avLst>
              <a:gd name="adj1" fmla="val 1977"/>
              <a:gd name="adj2" fmla="val 896924"/>
              <a:gd name="adj3" fmla="val 20470880"/>
              <a:gd name="adj4" fmla="val 3068357"/>
              <a:gd name="adj5" fmla="val 5578"/>
            </a:avLst>
          </a:prstGeom>
          <a:solidFill>
            <a:schemeClr val="accent1">
              <a:lumMod val="75000"/>
            </a:schemeClr>
          </a:solidFill>
          <a:effectLst>
            <a:outerShdw blurRad="50800" dist="25400" dir="16200000" sx="101000" sy="101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black"/>
              </a:solidFill>
            </a:endParaRPr>
          </a:p>
        </p:txBody>
      </p:sp>
      <p:sp>
        <p:nvSpPr>
          <p:cNvPr id="115" name="Gebogener Pfeil 114"/>
          <p:cNvSpPr>
            <a:spLocks noChangeAspect="1"/>
          </p:cNvSpPr>
          <p:nvPr/>
        </p:nvSpPr>
        <p:spPr>
          <a:xfrm rot="19730638" flipH="1">
            <a:off x="4701320" y="2169442"/>
            <a:ext cx="540000" cy="540000"/>
          </a:xfrm>
          <a:prstGeom prst="circularArrow">
            <a:avLst>
              <a:gd name="adj1" fmla="val 1977"/>
              <a:gd name="adj2" fmla="val 896924"/>
              <a:gd name="adj3" fmla="val 20470880"/>
              <a:gd name="adj4" fmla="val 3068357"/>
              <a:gd name="adj5" fmla="val 5578"/>
            </a:avLst>
          </a:prstGeom>
          <a:effectLst>
            <a:outerShdw blurRad="50800" dist="25400" dir="16200000" sx="101000" sy="101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black"/>
              </a:solidFill>
            </a:endParaRPr>
          </a:p>
        </p:txBody>
      </p:sp>
      <p:sp>
        <p:nvSpPr>
          <p:cNvPr id="116" name="Textfeld 115"/>
          <p:cNvSpPr txBox="1"/>
          <p:nvPr/>
        </p:nvSpPr>
        <p:spPr>
          <a:xfrm>
            <a:off x="2781300" y="3929022"/>
            <a:ext cx="7617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smtClean="0">
                <a:solidFill>
                  <a:srgbClr val="9BBB59">
                    <a:lumMod val="50000"/>
                  </a:srgbClr>
                </a:solidFill>
                <a:latin typeface="Calibri"/>
                <a:cs typeface="+mn-cs"/>
              </a:rPr>
              <a:t>Sprin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9BBB59">
                    <a:lumMod val="50000"/>
                  </a:srgbClr>
                </a:solidFill>
                <a:latin typeface="Calibri"/>
                <a:cs typeface="+mn-cs"/>
              </a:rPr>
              <a:t>Backlog</a:t>
            </a:r>
            <a:endParaRPr lang="de-DE" sz="1400" dirty="0">
              <a:solidFill>
                <a:srgbClr val="9BBB59">
                  <a:lumMod val="50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17" name="Textfeld 116"/>
          <p:cNvSpPr txBox="1"/>
          <p:nvPr/>
        </p:nvSpPr>
        <p:spPr>
          <a:xfrm>
            <a:off x="1920791" y="3786169"/>
            <a:ext cx="8322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smtClean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Sprin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Planning</a:t>
            </a:r>
            <a:endParaRPr lang="de-DE" sz="1400" dirty="0">
              <a:solidFill>
                <a:srgbClr val="4F81BD">
                  <a:lumMod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18" name="Textfeld 117"/>
          <p:cNvSpPr txBox="1"/>
          <p:nvPr/>
        </p:nvSpPr>
        <p:spPr>
          <a:xfrm>
            <a:off x="952500" y="2724150"/>
            <a:ext cx="76918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9BBB59">
                    <a:lumMod val="50000"/>
                  </a:srgbClr>
                </a:solidFill>
                <a:latin typeface="Calibri"/>
                <a:cs typeface="+mn-cs"/>
              </a:rPr>
              <a:t>Product</a:t>
            </a:r>
            <a:endParaRPr lang="de-DE" sz="1400" dirty="0" smtClean="0">
              <a:solidFill>
                <a:srgbClr val="9BBB59">
                  <a:lumMod val="50000"/>
                </a:srgbClr>
              </a:solidFill>
              <a:latin typeface="Calibri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9BBB59">
                    <a:lumMod val="50000"/>
                  </a:srgbClr>
                </a:solidFill>
                <a:latin typeface="Calibri"/>
                <a:cs typeface="+mn-cs"/>
              </a:rPr>
              <a:t>Backlog</a:t>
            </a:r>
            <a:endParaRPr lang="de-DE" sz="1400" dirty="0">
              <a:solidFill>
                <a:srgbClr val="9BBB59">
                  <a:lumMod val="50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19" name="Textfeld 118"/>
          <p:cNvSpPr txBox="1"/>
          <p:nvPr/>
        </p:nvSpPr>
        <p:spPr>
          <a:xfrm>
            <a:off x="7105650" y="466725"/>
            <a:ext cx="9896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smtClean="0">
                <a:solidFill>
                  <a:srgbClr val="9BBB59">
                    <a:lumMod val="50000"/>
                  </a:srgbClr>
                </a:solidFill>
                <a:latin typeface="Calibri"/>
                <a:cs typeface="+mn-cs"/>
              </a:rPr>
              <a:t>Task Board</a:t>
            </a:r>
            <a:endParaRPr lang="de-DE" sz="1400" dirty="0">
              <a:solidFill>
                <a:srgbClr val="9BBB59">
                  <a:lumMod val="50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20" name="Textfeld 119"/>
          <p:cNvSpPr txBox="1"/>
          <p:nvPr/>
        </p:nvSpPr>
        <p:spPr>
          <a:xfrm>
            <a:off x="5429250" y="476250"/>
            <a:ext cx="9634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9BBB59">
                    <a:lumMod val="50000"/>
                  </a:srgbClr>
                </a:solidFill>
                <a:latin typeface="Calibri"/>
                <a:cs typeface="+mn-cs"/>
              </a:rPr>
              <a:t>Burndown</a:t>
            </a:r>
            <a:endParaRPr lang="de-DE" sz="1400" dirty="0" smtClean="0">
              <a:solidFill>
                <a:srgbClr val="9BBB59">
                  <a:lumMod val="50000"/>
                </a:srgbClr>
              </a:solidFill>
              <a:latin typeface="Calibri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smtClean="0">
                <a:solidFill>
                  <a:srgbClr val="9BBB59">
                    <a:lumMod val="50000"/>
                  </a:srgbClr>
                </a:solidFill>
                <a:latin typeface="Calibri"/>
                <a:cs typeface="+mn-cs"/>
              </a:rPr>
              <a:t>Chart</a:t>
            </a:r>
            <a:endParaRPr lang="de-DE" sz="1400" dirty="0">
              <a:solidFill>
                <a:srgbClr val="9BBB59">
                  <a:lumMod val="50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21" name="Textfeld 120"/>
          <p:cNvSpPr txBox="1"/>
          <p:nvPr/>
        </p:nvSpPr>
        <p:spPr>
          <a:xfrm>
            <a:off x="4023543" y="2162175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smtClean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Dail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Scrum</a:t>
            </a:r>
            <a:endParaRPr lang="de-DE" sz="1400" dirty="0">
              <a:solidFill>
                <a:srgbClr val="4F81BD">
                  <a:lumMod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22" name="Textfeld 121"/>
          <p:cNvSpPr txBox="1"/>
          <p:nvPr/>
        </p:nvSpPr>
        <p:spPr>
          <a:xfrm>
            <a:off x="1702430" y="5900737"/>
            <a:ext cx="6861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err="1" smtClean="0">
                <a:solidFill>
                  <a:srgbClr val="9BBB59">
                    <a:lumMod val="75000"/>
                  </a:srgbClr>
                </a:solidFill>
                <a:latin typeface="Calibri"/>
                <a:cs typeface="+mn-cs"/>
              </a:rPr>
              <a:t>Product</a:t>
            </a:r>
            <a:endParaRPr lang="de-DE" sz="1200" dirty="0" smtClean="0">
              <a:solidFill>
                <a:srgbClr val="9BBB59">
                  <a:lumMod val="75000"/>
                </a:srgbClr>
              </a:solidFill>
              <a:latin typeface="Calibri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err="1" smtClean="0">
                <a:solidFill>
                  <a:srgbClr val="9BBB59">
                    <a:lumMod val="75000"/>
                  </a:srgbClr>
                </a:solidFill>
                <a:latin typeface="Calibri"/>
                <a:cs typeface="+mn-cs"/>
              </a:rPr>
              <a:t>Owner</a:t>
            </a:r>
            <a:endParaRPr lang="de-DE" sz="1200" dirty="0">
              <a:solidFill>
                <a:srgbClr val="9BBB59">
                  <a:lumMod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23" name="Textfeld 122"/>
          <p:cNvSpPr txBox="1"/>
          <p:nvPr/>
        </p:nvSpPr>
        <p:spPr>
          <a:xfrm>
            <a:off x="6248400" y="3781425"/>
            <a:ext cx="76918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Product</a:t>
            </a:r>
            <a:endParaRPr lang="de-DE" sz="1400" dirty="0" smtClean="0">
              <a:solidFill>
                <a:srgbClr val="4F81BD">
                  <a:lumMod val="75000"/>
                </a:srgbClr>
              </a:solidFill>
              <a:latin typeface="Calibri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Backlog</a:t>
            </a:r>
            <a:endParaRPr lang="de-DE" sz="1400" dirty="0">
              <a:solidFill>
                <a:srgbClr val="4F81BD">
                  <a:lumMod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24" name="Textfeld 123"/>
          <p:cNvSpPr txBox="1"/>
          <p:nvPr/>
        </p:nvSpPr>
        <p:spPr>
          <a:xfrm>
            <a:off x="4600575" y="3810000"/>
            <a:ext cx="75642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800" dirty="0" smtClean="0">
                <a:solidFill>
                  <a:srgbClr val="1F497D">
                    <a:lumMod val="75000"/>
                  </a:srgbClr>
                </a:solidFill>
                <a:latin typeface="Calibri"/>
                <a:cs typeface="+mn-cs"/>
              </a:rPr>
              <a:t>Sprint</a:t>
            </a:r>
            <a:endParaRPr lang="de-DE" sz="1800" dirty="0">
              <a:solidFill>
                <a:srgbClr val="1F497D">
                  <a:lumMod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1026372" y="4612083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026371" y="4443011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1026370" y="4273939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1028750" y="4104867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1028750" y="3935796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1028746" y="3766720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028744" y="3597650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028746" y="3428573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1028700" y="3259535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844157" y="4603131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844157" y="4429301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48" name="Textfeld 147"/>
          <p:cNvSpPr txBox="1"/>
          <p:nvPr/>
        </p:nvSpPr>
        <p:spPr>
          <a:xfrm>
            <a:off x="2509174" y="5900736"/>
            <a:ext cx="6363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err="1" smtClean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Scrum</a:t>
            </a:r>
            <a:endParaRPr lang="de-DE" sz="1200" dirty="0" smtClean="0">
              <a:solidFill>
                <a:srgbClr val="4F81BD">
                  <a:lumMod val="75000"/>
                </a:srgbClr>
              </a:solidFill>
              <a:latin typeface="Calibri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smtClean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Master</a:t>
            </a:r>
            <a:endParaRPr lang="de-DE" sz="1200" dirty="0">
              <a:solidFill>
                <a:srgbClr val="4F81BD">
                  <a:lumMod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49" name="Textfeld 148"/>
          <p:cNvSpPr txBox="1"/>
          <p:nvPr/>
        </p:nvSpPr>
        <p:spPr>
          <a:xfrm>
            <a:off x="3241121" y="5900734"/>
            <a:ext cx="7360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smtClean="0">
                <a:solidFill>
                  <a:srgbClr val="1F497D">
                    <a:lumMod val="75000"/>
                  </a:srgbClr>
                </a:solidFill>
                <a:latin typeface="Calibri"/>
                <a:cs typeface="+mn-cs"/>
              </a:rPr>
              <a:t>Team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smtClean="0">
                <a:solidFill>
                  <a:srgbClr val="1F497D">
                    <a:lumMod val="75000"/>
                  </a:srgbClr>
                </a:solidFill>
                <a:latin typeface="Calibri"/>
                <a:cs typeface="+mn-cs"/>
              </a:rPr>
              <a:t>Member</a:t>
            </a:r>
            <a:endParaRPr lang="de-DE" sz="1200" dirty="0">
              <a:solidFill>
                <a:srgbClr val="1F497D">
                  <a:lumMod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58" name="Freihandform 157"/>
          <p:cNvSpPr>
            <a:spLocks noChangeAspect="1"/>
          </p:cNvSpPr>
          <p:nvPr/>
        </p:nvSpPr>
        <p:spPr>
          <a:xfrm>
            <a:off x="1878611" y="5635525"/>
            <a:ext cx="288000" cy="301003"/>
          </a:xfrm>
          <a:custGeom>
            <a:avLst/>
            <a:gdLst>
              <a:gd name="connsiteX0" fmla="*/ 211931 w 250031"/>
              <a:gd name="connsiteY0" fmla="*/ 276225 h 276225"/>
              <a:gd name="connsiteX1" fmla="*/ 247650 w 250031"/>
              <a:gd name="connsiteY1" fmla="*/ 221457 h 276225"/>
              <a:gd name="connsiteX2" fmla="*/ 250031 w 250031"/>
              <a:gd name="connsiteY2" fmla="*/ 161925 h 276225"/>
              <a:gd name="connsiteX3" fmla="*/ 242887 w 250031"/>
              <a:gd name="connsiteY3" fmla="*/ 95250 h 276225"/>
              <a:gd name="connsiteX4" fmla="*/ 233362 w 250031"/>
              <a:gd name="connsiteY4" fmla="*/ 66675 h 276225"/>
              <a:gd name="connsiteX5" fmla="*/ 216693 w 250031"/>
              <a:gd name="connsiteY5" fmla="*/ 40482 h 276225"/>
              <a:gd name="connsiteX6" fmla="*/ 202406 w 250031"/>
              <a:gd name="connsiteY6" fmla="*/ 21432 h 276225"/>
              <a:gd name="connsiteX7" fmla="*/ 180975 w 250031"/>
              <a:gd name="connsiteY7" fmla="*/ 7144 h 276225"/>
              <a:gd name="connsiteX8" fmla="*/ 152400 w 250031"/>
              <a:gd name="connsiteY8" fmla="*/ 0 h 276225"/>
              <a:gd name="connsiteX9" fmla="*/ 123825 w 250031"/>
              <a:gd name="connsiteY9" fmla="*/ 0 h 276225"/>
              <a:gd name="connsiteX10" fmla="*/ 85725 w 250031"/>
              <a:gd name="connsiteY10" fmla="*/ 4763 h 276225"/>
              <a:gd name="connsiteX11" fmla="*/ 59531 w 250031"/>
              <a:gd name="connsiteY11" fmla="*/ 19050 h 276225"/>
              <a:gd name="connsiteX12" fmla="*/ 35718 w 250031"/>
              <a:gd name="connsiteY12" fmla="*/ 40482 h 276225"/>
              <a:gd name="connsiteX13" fmla="*/ 14287 w 250031"/>
              <a:gd name="connsiteY13" fmla="*/ 78582 h 276225"/>
              <a:gd name="connsiteX14" fmla="*/ 2381 w 250031"/>
              <a:gd name="connsiteY14" fmla="*/ 119063 h 276225"/>
              <a:gd name="connsiteX15" fmla="*/ 0 w 250031"/>
              <a:gd name="connsiteY15" fmla="*/ 147638 h 276225"/>
              <a:gd name="connsiteX16" fmla="*/ 0 w 250031"/>
              <a:gd name="connsiteY16" fmla="*/ 195263 h 276225"/>
              <a:gd name="connsiteX17" fmla="*/ 14287 w 250031"/>
              <a:gd name="connsiteY17" fmla="*/ 216694 h 276225"/>
              <a:gd name="connsiteX18" fmla="*/ 61912 w 250031"/>
              <a:gd name="connsiteY18" fmla="*/ 245269 h 276225"/>
              <a:gd name="connsiteX19" fmla="*/ 109537 w 250031"/>
              <a:gd name="connsiteY19" fmla="*/ 259557 h 276225"/>
              <a:gd name="connsiteX20" fmla="*/ 211931 w 250031"/>
              <a:gd name="connsiteY20" fmla="*/ 276225 h 276225"/>
              <a:gd name="connsiteX0" fmla="*/ 207168 w 250031"/>
              <a:gd name="connsiteY0" fmla="*/ 261937 h 261937"/>
              <a:gd name="connsiteX1" fmla="*/ 247650 w 250031"/>
              <a:gd name="connsiteY1" fmla="*/ 221457 h 261937"/>
              <a:gd name="connsiteX2" fmla="*/ 250031 w 250031"/>
              <a:gd name="connsiteY2" fmla="*/ 161925 h 261937"/>
              <a:gd name="connsiteX3" fmla="*/ 242887 w 250031"/>
              <a:gd name="connsiteY3" fmla="*/ 95250 h 261937"/>
              <a:gd name="connsiteX4" fmla="*/ 233362 w 250031"/>
              <a:gd name="connsiteY4" fmla="*/ 66675 h 261937"/>
              <a:gd name="connsiteX5" fmla="*/ 216693 w 250031"/>
              <a:gd name="connsiteY5" fmla="*/ 40482 h 261937"/>
              <a:gd name="connsiteX6" fmla="*/ 202406 w 250031"/>
              <a:gd name="connsiteY6" fmla="*/ 21432 h 261937"/>
              <a:gd name="connsiteX7" fmla="*/ 180975 w 250031"/>
              <a:gd name="connsiteY7" fmla="*/ 7144 h 261937"/>
              <a:gd name="connsiteX8" fmla="*/ 152400 w 250031"/>
              <a:gd name="connsiteY8" fmla="*/ 0 h 261937"/>
              <a:gd name="connsiteX9" fmla="*/ 123825 w 250031"/>
              <a:gd name="connsiteY9" fmla="*/ 0 h 261937"/>
              <a:gd name="connsiteX10" fmla="*/ 85725 w 250031"/>
              <a:gd name="connsiteY10" fmla="*/ 4763 h 261937"/>
              <a:gd name="connsiteX11" fmla="*/ 59531 w 250031"/>
              <a:gd name="connsiteY11" fmla="*/ 19050 h 261937"/>
              <a:gd name="connsiteX12" fmla="*/ 35718 w 250031"/>
              <a:gd name="connsiteY12" fmla="*/ 40482 h 261937"/>
              <a:gd name="connsiteX13" fmla="*/ 14287 w 250031"/>
              <a:gd name="connsiteY13" fmla="*/ 78582 h 261937"/>
              <a:gd name="connsiteX14" fmla="*/ 2381 w 250031"/>
              <a:gd name="connsiteY14" fmla="*/ 119063 h 261937"/>
              <a:gd name="connsiteX15" fmla="*/ 0 w 250031"/>
              <a:gd name="connsiteY15" fmla="*/ 147638 h 261937"/>
              <a:gd name="connsiteX16" fmla="*/ 0 w 250031"/>
              <a:gd name="connsiteY16" fmla="*/ 195263 h 261937"/>
              <a:gd name="connsiteX17" fmla="*/ 14287 w 250031"/>
              <a:gd name="connsiteY17" fmla="*/ 216694 h 261937"/>
              <a:gd name="connsiteX18" fmla="*/ 61912 w 250031"/>
              <a:gd name="connsiteY18" fmla="*/ 245269 h 261937"/>
              <a:gd name="connsiteX19" fmla="*/ 109537 w 250031"/>
              <a:gd name="connsiteY19" fmla="*/ 259557 h 261937"/>
              <a:gd name="connsiteX20" fmla="*/ 207168 w 250031"/>
              <a:gd name="connsiteY20" fmla="*/ 261937 h 261937"/>
              <a:gd name="connsiteX0" fmla="*/ 205435 w 250031"/>
              <a:gd name="connsiteY0" fmla="*/ 255873 h 259557"/>
              <a:gd name="connsiteX1" fmla="*/ 247650 w 250031"/>
              <a:gd name="connsiteY1" fmla="*/ 221457 h 259557"/>
              <a:gd name="connsiteX2" fmla="*/ 250031 w 250031"/>
              <a:gd name="connsiteY2" fmla="*/ 161925 h 259557"/>
              <a:gd name="connsiteX3" fmla="*/ 242887 w 250031"/>
              <a:gd name="connsiteY3" fmla="*/ 95250 h 259557"/>
              <a:gd name="connsiteX4" fmla="*/ 233362 w 250031"/>
              <a:gd name="connsiteY4" fmla="*/ 66675 h 259557"/>
              <a:gd name="connsiteX5" fmla="*/ 216693 w 250031"/>
              <a:gd name="connsiteY5" fmla="*/ 40482 h 259557"/>
              <a:gd name="connsiteX6" fmla="*/ 202406 w 250031"/>
              <a:gd name="connsiteY6" fmla="*/ 21432 h 259557"/>
              <a:gd name="connsiteX7" fmla="*/ 180975 w 250031"/>
              <a:gd name="connsiteY7" fmla="*/ 7144 h 259557"/>
              <a:gd name="connsiteX8" fmla="*/ 152400 w 250031"/>
              <a:gd name="connsiteY8" fmla="*/ 0 h 259557"/>
              <a:gd name="connsiteX9" fmla="*/ 123825 w 250031"/>
              <a:gd name="connsiteY9" fmla="*/ 0 h 259557"/>
              <a:gd name="connsiteX10" fmla="*/ 85725 w 250031"/>
              <a:gd name="connsiteY10" fmla="*/ 4763 h 259557"/>
              <a:gd name="connsiteX11" fmla="*/ 59531 w 250031"/>
              <a:gd name="connsiteY11" fmla="*/ 19050 h 259557"/>
              <a:gd name="connsiteX12" fmla="*/ 35718 w 250031"/>
              <a:gd name="connsiteY12" fmla="*/ 40482 h 259557"/>
              <a:gd name="connsiteX13" fmla="*/ 14287 w 250031"/>
              <a:gd name="connsiteY13" fmla="*/ 78582 h 259557"/>
              <a:gd name="connsiteX14" fmla="*/ 2381 w 250031"/>
              <a:gd name="connsiteY14" fmla="*/ 119063 h 259557"/>
              <a:gd name="connsiteX15" fmla="*/ 0 w 250031"/>
              <a:gd name="connsiteY15" fmla="*/ 147638 h 259557"/>
              <a:gd name="connsiteX16" fmla="*/ 0 w 250031"/>
              <a:gd name="connsiteY16" fmla="*/ 195263 h 259557"/>
              <a:gd name="connsiteX17" fmla="*/ 14287 w 250031"/>
              <a:gd name="connsiteY17" fmla="*/ 216694 h 259557"/>
              <a:gd name="connsiteX18" fmla="*/ 61912 w 250031"/>
              <a:gd name="connsiteY18" fmla="*/ 245269 h 259557"/>
              <a:gd name="connsiteX19" fmla="*/ 109537 w 250031"/>
              <a:gd name="connsiteY19" fmla="*/ 259557 h 259557"/>
              <a:gd name="connsiteX20" fmla="*/ 205435 w 250031"/>
              <a:gd name="connsiteY20" fmla="*/ 255873 h 259557"/>
              <a:gd name="connsiteX0" fmla="*/ 205435 w 250031"/>
              <a:gd name="connsiteY0" fmla="*/ 255873 h 264031"/>
              <a:gd name="connsiteX1" fmla="*/ 247650 w 250031"/>
              <a:gd name="connsiteY1" fmla="*/ 221457 h 264031"/>
              <a:gd name="connsiteX2" fmla="*/ 250031 w 250031"/>
              <a:gd name="connsiteY2" fmla="*/ 161925 h 264031"/>
              <a:gd name="connsiteX3" fmla="*/ 242887 w 250031"/>
              <a:gd name="connsiteY3" fmla="*/ 95250 h 264031"/>
              <a:gd name="connsiteX4" fmla="*/ 233362 w 250031"/>
              <a:gd name="connsiteY4" fmla="*/ 66675 h 264031"/>
              <a:gd name="connsiteX5" fmla="*/ 216693 w 250031"/>
              <a:gd name="connsiteY5" fmla="*/ 40482 h 264031"/>
              <a:gd name="connsiteX6" fmla="*/ 202406 w 250031"/>
              <a:gd name="connsiteY6" fmla="*/ 21432 h 264031"/>
              <a:gd name="connsiteX7" fmla="*/ 180975 w 250031"/>
              <a:gd name="connsiteY7" fmla="*/ 7144 h 264031"/>
              <a:gd name="connsiteX8" fmla="*/ 152400 w 250031"/>
              <a:gd name="connsiteY8" fmla="*/ 0 h 264031"/>
              <a:gd name="connsiteX9" fmla="*/ 123825 w 250031"/>
              <a:gd name="connsiteY9" fmla="*/ 0 h 264031"/>
              <a:gd name="connsiteX10" fmla="*/ 85725 w 250031"/>
              <a:gd name="connsiteY10" fmla="*/ 4763 h 264031"/>
              <a:gd name="connsiteX11" fmla="*/ 59531 w 250031"/>
              <a:gd name="connsiteY11" fmla="*/ 19050 h 264031"/>
              <a:gd name="connsiteX12" fmla="*/ 35718 w 250031"/>
              <a:gd name="connsiteY12" fmla="*/ 40482 h 264031"/>
              <a:gd name="connsiteX13" fmla="*/ 14287 w 250031"/>
              <a:gd name="connsiteY13" fmla="*/ 78582 h 264031"/>
              <a:gd name="connsiteX14" fmla="*/ 2381 w 250031"/>
              <a:gd name="connsiteY14" fmla="*/ 119063 h 264031"/>
              <a:gd name="connsiteX15" fmla="*/ 0 w 250031"/>
              <a:gd name="connsiteY15" fmla="*/ 147638 h 264031"/>
              <a:gd name="connsiteX16" fmla="*/ 0 w 250031"/>
              <a:gd name="connsiteY16" fmla="*/ 195263 h 264031"/>
              <a:gd name="connsiteX17" fmla="*/ 14287 w 250031"/>
              <a:gd name="connsiteY17" fmla="*/ 216694 h 264031"/>
              <a:gd name="connsiteX18" fmla="*/ 61912 w 250031"/>
              <a:gd name="connsiteY18" fmla="*/ 245269 h 264031"/>
              <a:gd name="connsiteX19" fmla="*/ 109537 w 250031"/>
              <a:gd name="connsiteY19" fmla="*/ 259557 h 264031"/>
              <a:gd name="connsiteX20" fmla="*/ 205435 w 250031"/>
              <a:gd name="connsiteY20" fmla="*/ 255873 h 264031"/>
              <a:gd name="connsiteX0" fmla="*/ 205435 w 250031"/>
              <a:gd name="connsiteY0" fmla="*/ 255873 h 264031"/>
              <a:gd name="connsiteX1" fmla="*/ 247650 w 250031"/>
              <a:gd name="connsiteY1" fmla="*/ 221457 h 264031"/>
              <a:gd name="connsiteX2" fmla="*/ 250031 w 250031"/>
              <a:gd name="connsiteY2" fmla="*/ 161925 h 264031"/>
              <a:gd name="connsiteX3" fmla="*/ 242887 w 250031"/>
              <a:gd name="connsiteY3" fmla="*/ 95250 h 264031"/>
              <a:gd name="connsiteX4" fmla="*/ 233362 w 250031"/>
              <a:gd name="connsiteY4" fmla="*/ 66675 h 264031"/>
              <a:gd name="connsiteX5" fmla="*/ 216693 w 250031"/>
              <a:gd name="connsiteY5" fmla="*/ 40482 h 264031"/>
              <a:gd name="connsiteX6" fmla="*/ 202406 w 250031"/>
              <a:gd name="connsiteY6" fmla="*/ 21432 h 264031"/>
              <a:gd name="connsiteX7" fmla="*/ 180975 w 250031"/>
              <a:gd name="connsiteY7" fmla="*/ 7144 h 264031"/>
              <a:gd name="connsiteX8" fmla="*/ 152400 w 250031"/>
              <a:gd name="connsiteY8" fmla="*/ 0 h 264031"/>
              <a:gd name="connsiteX9" fmla="*/ 123825 w 250031"/>
              <a:gd name="connsiteY9" fmla="*/ 0 h 264031"/>
              <a:gd name="connsiteX10" fmla="*/ 85725 w 250031"/>
              <a:gd name="connsiteY10" fmla="*/ 4763 h 264031"/>
              <a:gd name="connsiteX11" fmla="*/ 59531 w 250031"/>
              <a:gd name="connsiteY11" fmla="*/ 19050 h 264031"/>
              <a:gd name="connsiteX12" fmla="*/ 35718 w 250031"/>
              <a:gd name="connsiteY12" fmla="*/ 40482 h 264031"/>
              <a:gd name="connsiteX13" fmla="*/ 14287 w 250031"/>
              <a:gd name="connsiteY13" fmla="*/ 78582 h 264031"/>
              <a:gd name="connsiteX14" fmla="*/ 2381 w 250031"/>
              <a:gd name="connsiteY14" fmla="*/ 119063 h 264031"/>
              <a:gd name="connsiteX15" fmla="*/ 0 w 250031"/>
              <a:gd name="connsiteY15" fmla="*/ 147638 h 264031"/>
              <a:gd name="connsiteX16" fmla="*/ 0 w 250031"/>
              <a:gd name="connsiteY16" fmla="*/ 195263 h 264031"/>
              <a:gd name="connsiteX17" fmla="*/ 14287 w 250031"/>
              <a:gd name="connsiteY17" fmla="*/ 216694 h 264031"/>
              <a:gd name="connsiteX18" fmla="*/ 61912 w 250031"/>
              <a:gd name="connsiteY18" fmla="*/ 245269 h 264031"/>
              <a:gd name="connsiteX19" fmla="*/ 109537 w 250031"/>
              <a:gd name="connsiteY19" fmla="*/ 259557 h 264031"/>
              <a:gd name="connsiteX20" fmla="*/ 205435 w 250031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74323"/>
              <a:gd name="connsiteX1" fmla="*/ 250031 w 257756"/>
              <a:gd name="connsiteY1" fmla="*/ 222648 h 274323"/>
              <a:gd name="connsiteX2" fmla="*/ 252412 w 257756"/>
              <a:gd name="connsiteY2" fmla="*/ 163116 h 274323"/>
              <a:gd name="connsiteX3" fmla="*/ 245268 w 257756"/>
              <a:gd name="connsiteY3" fmla="*/ 96441 h 274323"/>
              <a:gd name="connsiteX4" fmla="*/ 235743 w 257756"/>
              <a:gd name="connsiteY4" fmla="*/ 67866 h 274323"/>
              <a:gd name="connsiteX5" fmla="*/ 219074 w 257756"/>
              <a:gd name="connsiteY5" fmla="*/ 41673 h 274323"/>
              <a:gd name="connsiteX6" fmla="*/ 204787 w 257756"/>
              <a:gd name="connsiteY6" fmla="*/ 22623 h 274323"/>
              <a:gd name="connsiteX7" fmla="*/ 183356 w 257756"/>
              <a:gd name="connsiteY7" fmla="*/ 8335 h 274323"/>
              <a:gd name="connsiteX8" fmla="*/ 154781 w 257756"/>
              <a:gd name="connsiteY8" fmla="*/ 1191 h 274323"/>
              <a:gd name="connsiteX9" fmla="*/ 126206 w 257756"/>
              <a:gd name="connsiteY9" fmla="*/ 1191 h 274323"/>
              <a:gd name="connsiteX10" fmla="*/ 88106 w 257756"/>
              <a:gd name="connsiteY10" fmla="*/ 5954 h 274323"/>
              <a:gd name="connsiteX11" fmla="*/ 61912 w 257756"/>
              <a:gd name="connsiteY11" fmla="*/ 20241 h 274323"/>
              <a:gd name="connsiteX12" fmla="*/ 38099 w 257756"/>
              <a:gd name="connsiteY12" fmla="*/ 41673 h 274323"/>
              <a:gd name="connsiteX13" fmla="*/ 16668 w 257756"/>
              <a:gd name="connsiteY13" fmla="*/ 79773 h 274323"/>
              <a:gd name="connsiteX14" fmla="*/ 4762 w 257756"/>
              <a:gd name="connsiteY14" fmla="*/ 120254 h 274323"/>
              <a:gd name="connsiteX15" fmla="*/ 2381 w 257756"/>
              <a:gd name="connsiteY15" fmla="*/ 148829 h 274323"/>
              <a:gd name="connsiteX16" fmla="*/ 2381 w 257756"/>
              <a:gd name="connsiteY16" fmla="*/ 196454 h 274323"/>
              <a:gd name="connsiteX17" fmla="*/ 16668 w 257756"/>
              <a:gd name="connsiteY17" fmla="*/ 217885 h 274323"/>
              <a:gd name="connsiteX18" fmla="*/ 64293 w 257756"/>
              <a:gd name="connsiteY18" fmla="*/ 246460 h 274323"/>
              <a:gd name="connsiteX19" fmla="*/ 111918 w 257756"/>
              <a:gd name="connsiteY19" fmla="*/ 260748 h 274323"/>
              <a:gd name="connsiteX20" fmla="*/ 207816 w 257756"/>
              <a:gd name="connsiteY20" fmla="*/ 257064 h 274323"/>
              <a:gd name="connsiteX0" fmla="*/ 207816 w 257756"/>
              <a:gd name="connsiteY0" fmla="*/ 257064 h 274323"/>
              <a:gd name="connsiteX1" fmla="*/ 250031 w 257756"/>
              <a:gd name="connsiteY1" fmla="*/ 222648 h 274323"/>
              <a:gd name="connsiteX2" fmla="*/ 252412 w 257756"/>
              <a:gd name="connsiteY2" fmla="*/ 163116 h 274323"/>
              <a:gd name="connsiteX3" fmla="*/ 245268 w 257756"/>
              <a:gd name="connsiteY3" fmla="*/ 96441 h 274323"/>
              <a:gd name="connsiteX4" fmla="*/ 235743 w 257756"/>
              <a:gd name="connsiteY4" fmla="*/ 67866 h 274323"/>
              <a:gd name="connsiteX5" fmla="*/ 219074 w 257756"/>
              <a:gd name="connsiteY5" fmla="*/ 41673 h 274323"/>
              <a:gd name="connsiteX6" fmla="*/ 204787 w 257756"/>
              <a:gd name="connsiteY6" fmla="*/ 22623 h 274323"/>
              <a:gd name="connsiteX7" fmla="*/ 183356 w 257756"/>
              <a:gd name="connsiteY7" fmla="*/ 8335 h 274323"/>
              <a:gd name="connsiteX8" fmla="*/ 154781 w 257756"/>
              <a:gd name="connsiteY8" fmla="*/ 1191 h 274323"/>
              <a:gd name="connsiteX9" fmla="*/ 126206 w 257756"/>
              <a:gd name="connsiteY9" fmla="*/ 1191 h 274323"/>
              <a:gd name="connsiteX10" fmla="*/ 88106 w 257756"/>
              <a:gd name="connsiteY10" fmla="*/ 5954 h 274323"/>
              <a:gd name="connsiteX11" fmla="*/ 61912 w 257756"/>
              <a:gd name="connsiteY11" fmla="*/ 20241 h 274323"/>
              <a:gd name="connsiteX12" fmla="*/ 38099 w 257756"/>
              <a:gd name="connsiteY12" fmla="*/ 41673 h 274323"/>
              <a:gd name="connsiteX13" fmla="*/ 16668 w 257756"/>
              <a:gd name="connsiteY13" fmla="*/ 79773 h 274323"/>
              <a:gd name="connsiteX14" fmla="*/ 4762 w 257756"/>
              <a:gd name="connsiteY14" fmla="*/ 120254 h 274323"/>
              <a:gd name="connsiteX15" fmla="*/ 2381 w 257756"/>
              <a:gd name="connsiteY15" fmla="*/ 148829 h 274323"/>
              <a:gd name="connsiteX16" fmla="*/ 2381 w 257756"/>
              <a:gd name="connsiteY16" fmla="*/ 196454 h 274323"/>
              <a:gd name="connsiteX17" fmla="*/ 16668 w 257756"/>
              <a:gd name="connsiteY17" fmla="*/ 217885 h 274323"/>
              <a:gd name="connsiteX18" fmla="*/ 64293 w 257756"/>
              <a:gd name="connsiteY18" fmla="*/ 246460 h 274323"/>
              <a:gd name="connsiteX19" fmla="*/ 128378 w 257756"/>
              <a:gd name="connsiteY19" fmla="*/ 265946 h 274323"/>
              <a:gd name="connsiteX20" fmla="*/ 207816 w 257756"/>
              <a:gd name="connsiteY20" fmla="*/ 257064 h 274323"/>
              <a:gd name="connsiteX0" fmla="*/ 207816 w 257756"/>
              <a:gd name="connsiteY0" fmla="*/ 257064 h 269394"/>
              <a:gd name="connsiteX1" fmla="*/ 250031 w 257756"/>
              <a:gd name="connsiteY1" fmla="*/ 222648 h 269394"/>
              <a:gd name="connsiteX2" fmla="*/ 252412 w 257756"/>
              <a:gd name="connsiteY2" fmla="*/ 163116 h 269394"/>
              <a:gd name="connsiteX3" fmla="*/ 245268 w 257756"/>
              <a:gd name="connsiteY3" fmla="*/ 96441 h 269394"/>
              <a:gd name="connsiteX4" fmla="*/ 235743 w 257756"/>
              <a:gd name="connsiteY4" fmla="*/ 67866 h 269394"/>
              <a:gd name="connsiteX5" fmla="*/ 219074 w 257756"/>
              <a:gd name="connsiteY5" fmla="*/ 41673 h 269394"/>
              <a:gd name="connsiteX6" fmla="*/ 204787 w 257756"/>
              <a:gd name="connsiteY6" fmla="*/ 22623 h 269394"/>
              <a:gd name="connsiteX7" fmla="*/ 183356 w 257756"/>
              <a:gd name="connsiteY7" fmla="*/ 8335 h 269394"/>
              <a:gd name="connsiteX8" fmla="*/ 154781 w 257756"/>
              <a:gd name="connsiteY8" fmla="*/ 1191 h 269394"/>
              <a:gd name="connsiteX9" fmla="*/ 126206 w 257756"/>
              <a:gd name="connsiteY9" fmla="*/ 1191 h 269394"/>
              <a:gd name="connsiteX10" fmla="*/ 88106 w 257756"/>
              <a:gd name="connsiteY10" fmla="*/ 5954 h 269394"/>
              <a:gd name="connsiteX11" fmla="*/ 61912 w 257756"/>
              <a:gd name="connsiteY11" fmla="*/ 20241 h 269394"/>
              <a:gd name="connsiteX12" fmla="*/ 38099 w 257756"/>
              <a:gd name="connsiteY12" fmla="*/ 41673 h 269394"/>
              <a:gd name="connsiteX13" fmla="*/ 16668 w 257756"/>
              <a:gd name="connsiteY13" fmla="*/ 79773 h 269394"/>
              <a:gd name="connsiteX14" fmla="*/ 4762 w 257756"/>
              <a:gd name="connsiteY14" fmla="*/ 120254 h 269394"/>
              <a:gd name="connsiteX15" fmla="*/ 2381 w 257756"/>
              <a:gd name="connsiteY15" fmla="*/ 148829 h 269394"/>
              <a:gd name="connsiteX16" fmla="*/ 2381 w 257756"/>
              <a:gd name="connsiteY16" fmla="*/ 196454 h 269394"/>
              <a:gd name="connsiteX17" fmla="*/ 16668 w 257756"/>
              <a:gd name="connsiteY17" fmla="*/ 217885 h 269394"/>
              <a:gd name="connsiteX18" fmla="*/ 64293 w 257756"/>
              <a:gd name="connsiteY18" fmla="*/ 246460 h 269394"/>
              <a:gd name="connsiteX19" fmla="*/ 128378 w 257756"/>
              <a:gd name="connsiteY19" fmla="*/ 265946 h 269394"/>
              <a:gd name="connsiteX20" fmla="*/ 165534 w 257756"/>
              <a:gd name="connsiteY20" fmla="*/ 267146 h 269394"/>
              <a:gd name="connsiteX21" fmla="*/ 207816 w 257756"/>
              <a:gd name="connsiteY21" fmla="*/ 257064 h 269394"/>
              <a:gd name="connsiteX0" fmla="*/ 207816 w 257756"/>
              <a:gd name="connsiteY0" fmla="*/ 257064 h 269394"/>
              <a:gd name="connsiteX1" fmla="*/ 250031 w 257756"/>
              <a:gd name="connsiteY1" fmla="*/ 222648 h 269394"/>
              <a:gd name="connsiteX2" fmla="*/ 252412 w 257756"/>
              <a:gd name="connsiteY2" fmla="*/ 163116 h 269394"/>
              <a:gd name="connsiteX3" fmla="*/ 245268 w 257756"/>
              <a:gd name="connsiteY3" fmla="*/ 96441 h 269394"/>
              <a:gd name="connsiteX4" fmla="*/ 235743 w 257756"/>
              <a:gd name="connsiteY4" fmla="*/ 67866 h 269394"/>
              <a:gd name="connsiteX5" fmla="*/ 219074 w 257756"/>
              <a:gd name="connsiteY5" fmla="*/ 41673 h 269394"/>
              <a:gd name="connsiteX6" fmla="*/ 204787 w 257756"/>
              <a:gd name="connsiteY6" fmla="*/ 22623 h 269394"/>
              <a:gd name="connsiteX7" fmla="*/ 183356 w 257756"/>
              <a:gd name="connsiteY7" fmla="*/ 8335 h 269394"/>
              <a:gd name="connsiteX8" fmla="*/ 154781 w 257756"/>
              <a:gd name="connsiteY8" fmla="*/ 1191 h 269394"/>
              <a:gd name="connsiteX9" fmla="*/ 126206 w 257756"/>
              <a:gd name="connsiteY9" fmla="*/ 1191 h 269394"/>
              <a:gd name="connsiteX10" fmla="*/ 88106 w 257756"/>
              <a:gd name="connsiteY10" fmla="*/ 5954 h 269394"/>
              <a:gd name="connsiteX11" fmla="*/ 61912 w 257756"/>
              <a:gd name="connsiteY11" fmla="*/ 20241 h 269394"/>
              <a:gd name="connsiteX12" fmla="*/ 38099 w 257756"/>
              <a:gd name="connsiteY12" fmla="*/ 41673 h 269394"/>
              <a:gd name="connsiteX13" fmla="*/ 16668 w 257756"/>
              <a:gd name="connsiteY13" fmla="*/ 79773 h 269394"/>
              <a:gd name="connsiteX14" fmla="*/ 4762 w 257756"/>
              <a:gd name="connsiteY14" fmla="*/ 120254 h 269394"/>
              <a:gd name="connsiteX15" fmla="*/ 2381 w 257756"/>
              <a:gd name="connsiteY15" fmla="*/ 148829 h 269394"/>
              <a:gd name="connsiteX16" fmla="*/ 2381 w 257756"/>
              <a:gd name="connsiteY16" fmla="*/ 196454 h 269394"/>
              <a:gd name="connsiteX17" fmla="*/ 16668 w 257756"/>
              <a:gd name="connsiteY17" fmla="*/ 217885 h 269394"/>
              <a:gd name="connsiteX18" fmla="*/ 64293 w 257756"/>
              <a:gd name="connsiteY18" fmla="*/ 246460 h 269394"/>
              <a:gd name="connsiteX19" fmla="*/ 128378 w 257756"/>
              <a:gd name="connsiteY19" fmla="*/ 265946 h 269394"/>
              <a:gd name="connsiteX20" fmla="*/ 165534 w 257756"/>
              <a:gd name="connsiteY20" fmla="*/ 267146 h 269394"/>
              <a:gd name="connsiteX21" fmla="*/ 207816 w 257756"/>
              <a:gd name="connsiteY21" fmla="*/ 257064 h 269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57756" h="269394">
                <a:moveTo>
                  <a:pt x="207816" y="257064"/>
                </a:moveTo>
                <a:cubicBezTo>
                  <a:pt x="234016" y="240394"/>
                  <a:pt x="235959" y="234120"/>
                  <a:pt x="250031" y="222648"/>
                </a:cubicBezTo>
                <a:cubicBezTo>
                  <a:pt x="257756" y="202804"/>
                  <a:pt x="253161" y="182962"/>
                  <a:pt x="252412" y="163116"/>
                </a:cubicBezTo>
                <a:cubicBezTo>
                  <a:pt x="251618" y="142082"/>
                  <a:pt x="248046" y="112316"/>
                  <a:pt x="245268" y="96441"/>
                </a:cubicBezTo>
                <a:cubicBezTo>
                  <a:pt x="242490" y="80566"/>
                  <a:pt x="240109" y="76994"/>
                  <a:pt x="235743" y="67866"/>
                </a:cubicBezTo>
                <a:cubicBezTo>
                  <a:pt x="231377" y="58738"/>
                  <a:pt x="224233" y="49214"/>
                  <a:pt x="219074" y="41673"/>
                </a:cubicBezTo>
                <a:cubicBezTo>
                  <a:pt x="213915" y="34132"/>
                  <a:pt x="210740" y="28179"/>
                  <a:pt x="204787" y="22623"/>
                </a:cubicBezTo>
                <a:cubicBezTo>
                  <a:pt x="198834" y="17067"/>
                  <a:pt x="191690" y="11907"/>
                  <a:pt x="183356" y="8335"/>
                </a:cubicBezTo>
                <a:cubicBezTo>
                  <a:pt x="175022" y="4763"/>
                  <a:pt x="164306" y="2382"/>
                  <a:pt x="154781" y="1191"/>
                </a:cubicBezTo>
                <a:cubicBezTo>
                  <a:pt x="145256" y="0"/>
                  <a:pt x="137318" y="397"/>
                  <a:pt x="126206" y="1191"/>
                </a:cubicBezTo>
                <a:cubicBezTo>
                  <a:pt x="115094" y="1985"/>
                  <a:pt x="98822" y="2779"/>
                  <a:pt x="88106" y="5954"/>
                </a:cubicBezTo>
                <a:cubicBezTo>
                  <a:pt x="77390" y="9129"/>
                  <a:pt x="70247" y="14288"/>
                  <a:pt x="61912" y="20241"/>
                </a:cubicBezTo>
                <a:cubicBezTo>
                  <a:pt x="53578" y="26194"/>
                  <a:pt x="45640" y="31751"/>
                  <a:pt x="38099" y="41673"/>
                </a:cubicBezTo>
                <a:cubicBezTo>
                  <a:pt x="30558" y="51595"/>
                  <a:pt x="22224" y="66676"/>
                  <a:pt x="16668" y="79773"/>
                </a:cubicBezTo>
                <a:cubicBezTo>
                  <a:pt x="11112" y="92870"/>
                  <a:pt x="7143" y="108745"/>
                  <a:pt x="4762" y="120254"/>
                </a:cubicBezTo>
                <a:cubicBezTo>
                  <a:pt x="2381" y="131763"/>
                  <a:pt x="2778" y="136129"/>
                  <a:pt x="2381" y="148829"/>
                </a:cubicBezTo>
                <a:cubicBezTo>
                  <a:pt x="1984" y="161529"/>
                  <a:pt x="0" y="184945"/>
                  <a:pt x="2381" y="196454"/>
                </a:cubicBezTo>
                <a:cubicBezTo>
                  <a:pt x="4762" y="207963"/>
                  <a:pt x="6349" y="209551"/>
                  <a:pt x="16668" y="217885"/>
                </a:cubicBezTo>
                <a:cubicBezTo>
                  <a:pt x="26987" y="226219"/>
                  <a:pt x="45675" y="238450"/>
                  <a:pt x="64293" y="246460"/>
                </a:cubicBezTo>
                <a:cubicBezTo>
                  <a:pt x="82911" y="254470"/>
                  <a:pt x="111505" y="262498"/>
                  <a:pt x="128378" y="265946"/>
                </a:cubicBezTo>
                <a:cubicBezTo>
                  <a:pt x="145251" y="269394"/>
                  <a:pt x="152294" y="268626"/>
                  <a:pt x="165534" y="267146"/>
                </a:cubicBezTo>
                <a:cubicBezTo>
                  <a:pt x="178774" y="265666"/>
                  <a:pt x="193733" y="264480"/>
                  <a:pt x="207816" y="257064"/>
                </a:cubicBezTo>
                <a:close/>
              </a:path>
            </a:pathLst>
          </a:custGeom>
          <a:gradFill>
            <a:gsLst>
              <a:gs pos="94000">
                <a:schemeClr val="accent3">
                  <a:lumMod val="75000"/>
                </a:schemeClr>
              </a:gs>
              <a:gs pos="80000">
                <a:schemeClr val="accent3">
                  <a:lumMod val="75000"/>
                </a:schemeClr>
              </a:gs>
              <a:gs pos="21000">
                <a:schemeClr val="accent1">
                  <a:tint val="44500"/>
                  <a:satMod val="160000"/>
                </a:schemeClr>
              </a:gs>
              <a:gs pos="21000">
                <a:schemeClr val="accent3">
                  <a:lumMod val="75000"/>
                  <a:alpha val="42000"/>
                </a:schemeClr>
              </a:gs>
              <a:gs pos="86000">
                <a:schemeClr val="tx2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62" name="Freihandform 161"/>
          <p:cNvSpPr>
            <a:spLocks noChangeAspect="1"/>
          </p:cNvSpPr>
          <p:nvPr/>
        </p:nvSpPr>
        <p:spPr>
          <a:xfrm>
            <a:off x="3445473" y="5648946"/>
            <a:ext cx="288000" cy="301003"/>
          </a:xfrm>
          <a:custGeom>
            <a:avLst/>
            <a:gdLst>
              <a:gd name="connsiteX0" fmla="*/ 211931 w 250031"/>
              <a:gd name="connsiteY0" fmla="*/ 276225 h 276225"/>
              <a:gd name="connsiteX1" fmla="*/ 247650 w 250031"/>
              <a:gd name="connsiteY1" fmla="*/ 221457 h 276225"/>
              <a:gd name="connsiteX2" fmla="*/ 250031 w 250031"/>
              <a:gd name="connsiteY2" fmla="*/ 161925 h 276225"/>
              <a:gd name="connsiteX3" fmla="*/ 242887 w 250031"/>
              <a:gd name="connsiteY3" fmla="*/ 95250 h 276225"/>
              <a:gd name="connsiteX4" fmla="*/ 233362 w 250031"/>
              <a:gd name="connsiteY4" fmla="*/ 66675 h 276225"/>
              <a:gd name="connsiteX5" fmla="*/ 216693 w 250031"/>
              <a:gd name="connsiteY5" fmla="*/ 40482 h 276225"/>
              <a:gd name="connsiteX6" fmla="*/ 202406 w 250031"/>
              <a:gd name="connsiteY6" fmla="*/ 21432 h 276225"/>
              <a:gd name="connsiteX7" fmla="*/ 180975 w 250031"/>
              <a:gd name="connsiteY7" fmla="*/ 7144 h 276225"/>
              <a:gd name="connsiteX8" fmla="*/ 152400 w 250031"/>
              <a:gd name="connsiteY8" fmla="*/ 0 h 276225"/>
              <a:gd name="connsiteX9" fmla="*/ 123825 w 250031"/>
              <a:gd name="connsiteY9" fmla="*/ 0 h 276225"/>
              <a:gd name="connsiteX10" fmla="*/ 85725 w 250031"/>
              <a:gd name="connsiteY10" fmla="*/ 4763 h 276225"/>
              <a:gd name="connsiteX11" fmla="*/ 59531 w 250031"/>
              <a:gd name="connsiteY11" fmla="*/ 19050 h 276225"/>
              <a:gd name="connsiteX12" fmla="*/ 35718 w 250031"/>
              <a:gd name="connsiteY12" fmla="*/ 40482 h 276225"/>
              <a:gd name="connsiteX13" fmla="*/ 14287 w 250031"/>
              <a:gd name="connsiteY13" fmla="*/ 78582 h 276225"/>
              <a:gd name="connsiteX14" fmla="*/ 2381 w 250031"/>
              <a:gd name="connsiteY14" fmla="*/ 119063 h 276225"/>
              <a:gd name="connsiteX15" fmla="*/ 0 w 250031"/>
              <a:gd name="connsiteY15" fmla="*/ 147638 h 276225"/>
              <a:gd name="connsiteX16" fmla="*/ 0 w 250031"/>
              <a:gd name="connsiteY16" fmla="*/ 195263 h 276225"/>
              <a:gd name="connsiteX17" fmla="*/ 14287 w 250031"/>
              <a:gd name="connsiteY17" fmla="*/ 216694 h 276225"/>
              <a:gd name="connsiteX18" fmla="*/ 61912 w 250031"/>
              <a:gd name="connsiteY18" fmla="*/ 245269 h 276225"/>
              <a:gd name="connsiteX19" fmla="*/ 109537 w 250031"/>
              <a:gd name="connsiteY19" fmla="*/ 259557 h 276225"/>
              <a:gd name="connsiteX20" fmla="*/ 211931 w 250031"/>
              <a:gd name="connsiteY20" fmla="*/ 276225 h 276225"/>
              <a:gd name="connsiteX0" fmla="*/ 207168 w 250031"/>
              <a:gd name="connsiteY0" fmla="*/ 261937 h 261937"/>
              <a:gd name="connsiteX1" fmla="*/ 247650 w 250031"/>
              <a:gd name="connsiteY1" fmla="*/ 221457 h 261937"/>
              <a:gd name="connsiteX2" fmla="*/ 250031 w 250031"/>
              <a:gd name="connsiteY2" fmla="*/ 161925 h 261937"/>
              <a:gd name="connsiteX3" fmla="*/ 242887 w 250031"/>
              <a:gd name="connsiteY3" fmla="*/ 95250 h 261937"/>
              <a:gd name="connsiteX4" fmla="*/ 233362 w 250031"/>
              <a:gd name="connsiteY4" fmla="*/ 66675 h 261937"/>
              <a:gd name="connsiteX5" fmla="*/ 216693 w 250031"/>
              <a:gd name="connsiteY5" fmla="*/ 40482 h 261937"/>
              <a:gd name="connsiteX6" fmla="*/ 202406 w 250031"/>
              <a:gd name="connsiteY6" fmla="*/ 21432 h 261937"/>
              <a:gd name="connsiteX7" fmla="*/ 180975 w 250031"/>
              <a:gd name="connsiteY7" fmla="*/ 7144 h 261937"/>
              <a:gd name="connsiteX8" fmla="*/ 152400 w 250031"/>
              <a:gd name="connsiteY8" fmla="*/ 0 h 261937"/>
              <a:gd name="connsiteX9" fmla="*/ 123825 w 250031"/>
              <a:gd name="connsiteY9" fmla="*/ 0 h 261937"/>
              <a:gd name="connsiteX10" fmla="*/ 85725 w 250031"/>
              <a:gd name="connsiteY10" fmla="*/ 4763 h 261937"/>
              <a:gd name="connsiteX11" fmla="*/ 59531 w 250031"/>
              <a:gd name="connsiteY11" fmla="*/ 19050 h 261937"/>
              <a:gd name="connsiteX12" fmla="*/ 35718 w 250031"/>
              <a:gd name="connsiteY12" fmla="*/ 40482 h 261937"/>
              <a:gd name="connsiteX13" fmla="*/ 14287 w 250031"/>
              <a:gd name="connsiteY13" fmla="*/ 78582 h 261937"/>
              <a:gd name="connsiteX14" fmla="*/ 2381 w 250031"/>
              <a:gd name="connsiteY14" fmla="*/ 119063 h 261937"/>
              <a:gd name="connsiteX15" fmla="*/ 0 w 250031"/>
              <a:gd name="connsiteY15" fmla="*/ 147638 h 261937"/>
              <a:gd name="connsiteX16" fmla="*/ 0 w 250031"/>
              <a:gd name="connsiteY16" fmla="*/ 195263 h 261937"/>
              <a:gd name="connsiteX17" fmla="*/ 14287 w 250031"/>
              <a:gd name="connsiteY17" fmla="*/ 216694 h 261937"/>
              <a:gd name="connsiteX18" fmla="*/ 61912 w 250031"/>
              <a:gd name="connsiteY18" fmla="*/ 245269 h 261937"/>
              <a:gd name="connsiteX19" fmla="*/ 109537 w 250031"/>
              <a:gd name="connsiteY19" fmla="*/ 259557 h 261937"/>
              <a:gd name="connsiteX20" fmla="*/ 207168 w 250031"/>
              <a:gd name="connsiteY20" fmla="*/ 261937 h 261937"/>
              <a:gd name="connsiteX0" fmla="*/ 205435 w 250031"/>
              <a:gd name="connsiteY0" fmla="*/ 255873 h 259557"/>
              <a:gd name="connsiteX1" fmla="*/ 247650 w 250031"/>
              <a:gd name="connsiteY1" fmla="*/ 221457 h 259557"/>
              <a:gd name="connsiteX2" fmla="*/ 250031 w 250031"/>
              <a:gd name="connsiteY2" fmla="*/ 161925 h 259557"/>
              <a:gd name="connsiteX3" fmla="*/ 242887 w 250031"/>
              <a:gd name="connsiteY3" fmla="*/ 95250 h 259557"/>
              <a:gd name="connsiteX4" fmla="*/ 233362 w 250031"/>
              <a:gd name="connsiteY4" fmla="*/ 66675 h 259557"/>
              <a:gd name="connsiteX5" fmla="*/ 216693 w 250031"/>
              <a:gd name="connsiteY5" fmla="*/ 40482 h 259557"/>
              <a:gd name="connsiteX6" fmla="*/ 202406 w 250031"/>
              <a:gd name="connsiteY6" fmla="*/ 21432 h 259557"/>
              <a:gd name="connsiteX7" fmla="*/ 180975 w 250031"/>
              <a:gd name="connsiteY7" fmla="*/ 7144 h 259557"/>
              <a:gd name="connsiteX8" fmla="*/ 152400 w 250031"/>
              <a:gd name="connsiteY8" fmla="*/ 0 h 259557"/>
              <a:gd name="connsiteX9" fmla="*/ 123825 w 250031"/>
              <a:gd name="connsiteY9" fmla="*/ 0 h 259557"/>
              <a:gd name="connsiteX10" fmla="*/ 85725 w 250031"/>
              <a:gd name="connsiteY10" fmla="*/ 4763 h 259557"/>
              <a:gd name="connsiteX11" fmla="*/ 59531 w 250031"/>
              <a:gd name="connsiteY11" fmla="*/ 19050 h 259557"/>
              <a:gd name="connsiteX12" fmla="*/ 35718 w 250031"/>
              <a:gd name="connsiteY12" fmla="*/ 40482 h 259557"/>
              <a:gd name="connsiteX13" fmla="*/ 14287 w 250031"/>
              <a:gd name="connsiteY13" fmla="*/ 78582 h 259557"/>
              <a:gd name="connsiteX14" fmla="*/ 2381 w 250031"/>
              <a:gd name="connsiteY14" fmla="*/ 119063 h 259557"/>
              <a:gd name="connsiteX15" fmla="*/ 0 w 250031"/>
              <a:gd name="connsiteY15" fmla="*/ 147638 h 259557"/>
              <a:gd name="connsiteX16" fmla="*/ 0 w 250031"/>
              <a:gd name="connsiteY16" fmla="*/ 195263 h 259557"/>
              <a:gd name="connsiteX17" fmla="*/ 14287 w 250031"/>
              <a:gd name="connsiteY17" fmla="*/ 216694 h 259557"/>
              <a:gd name="connsiteX18" fmla="*/ 61912 w 250031"/>
              <a:gd name="connsiteY18" fmla="*/ 245269 h 259557"/>
              <a:gd name="connsiteX19" fmla="*/ 109537 w 250031"/>
              <a:gd name="connsiteY19" fmla="*/ 259557 h 259557"/>
              <a:gd name="connsiteX20" fmla="*/ 205435 w 250031"/>
              <a:gd name="connsiteY20" fmla="*/ 255873 h 259557"/>
              <a:gd name="connsiteX0" fmla="*/ 205435 w 250031"/>
              <a:gd name="connsiteY0" fmla="*/ 255873 h 264031"/>
              <a:gd name="connsiteX1" fmla="*/ 247650 w 250031"/>
              <a:gd name="connsiteY1" fmla="*/ 221457 h 264031"/>
              <a:gd name="connsiteX2" fmla="*/ 250031 w 250031"/>
              <a:gd name="connsiteY2" fmla="*/ 161925 h 264031"/>
              <a:gd name="connsiteX3" fmla="*/ 242887 w 250031"/>
              <a:gd name="connsiteY3" fmla="*/ 95250 h 264031"/>
              <a:gd name="connsiteX4" fmla="*/ 233362 w 250031"/>
              <a:gd name="connsiteY4" fmla="*/ 66675 h 264031"/>
              <a:gd name="connsiteX5" fmla="*/ 216693 w 250031"/>
              <a:gd name="connsiteY5" fmla="*/ 40482 h 264031"/>
              <a:gd name="connsiteX6" fmla="*/ 202406 w 250031"/>
              <a:gd name="connsiteY6" fmla="*/ 21432 h 264031"/>
              <a:gd name="connsiteX7" fmla="*/ 180975 w 250031"/>
              <a:gd name="connsiteY7" fmla="*/ 7144 h 264031"/>
              <a:gd name="connsiteX8" fmla="*/ 152400 w 250031"/>
              <a:gd name="connsiteY8" fmla="*/ 0 h 264031"/>
              <a:gd name="connsiteX9" fmla="*/ 123825 w 250031"/>
              <a:gd name="connsiteY9" fmla="*/ 0 h 264031"/>
              <a:gd name="connsiteX10" fmla="*/ 85725 w 250031"/>
              <a:gd name="connsiteY10" fmla="*/ 4763 h 264031"/>
              <a:gd name="connsiteX11" fmla="*/ 59531 w 250031"/>
              <a:gd name="connsiteY11" fmla="*/ 19050 h 264031"/>
              <a:gd name="connsiteX12" fmla="*/ 35718 w 250031"/>
              <a:gd name="connsiteY12" fmla="*/ 40482 h 264031"/>
              <a:gd name="connsiteX13" fmla="*/ 14287 w 250031"/>
              <a:gd name="connsiteY13" fmla="*/ 78582 h 264031"/>
              <a:gd name="connsiteX14" fmla="*/ 2381 w 250031"/>
              <a:gd name="connsiteY14" fmla="*/ 119063 h 264031"/>
              <a:gd name="connsiteX15" fmla="*/ 0 w 250031"/>
              <a:gd name="connsiteY15" fmla="*/ 147638 h 264031"/>
              <a:gd name="connsiteX16" fmla="*/ 0 w 250031"/>
              <a:gd name="connsiteY16" fmla="*/ 195263 h 264031"/>
              <a:gd name="connsiteX17" fmla="*/ 14287 w 250031"/>
              <a:gd name="connsiteY17" fmla="*/ 216694 h 264031"/>
              <a:gd name="connsiteX18" fmla="*/ 61912 w 250031"/>
              <a:gd name="connsiteY18" fmla="*/ 245269 h 264031"/>
              <a:gd name="connsiteX19" fmla="*/ 109537 w 250031"/>
              <a:gd name="connsiteY19" fmla="*/ 259557 h 264031"/>
              <a:gd name="connsiteX20" fmla="*/ 205435 w 250031"/>
              <a:gd name="connsiteY20" fmla="*/ 255873 h 264031"/>
              <a:gd name="connsiteX0" fmla="*/ 205435 w 250031"/>
              <a:gd name="connsiteY0" fmla="*/ 255873 h 264031"/>
              <a:gd name="connsiteX1" fmla="*/ 247650 w 250031"/>
              <a:gd name="connsiteY1" fmla="*/ 221457 h 264031"/>
              <a:gd name="connsiteX2" fmla="*/ 250031 w 250031"/>
              <a:gd name="connsiteY2" fmla="*/ 161925 h 264031"/>
              <a:gd name="connsiteX3" fmla="*/ 242887 w 250031"/>
              <a:gd name="connsiteY3" fmla="*/ 95250 h 264031"/>
              <a:gd name="connsiteX4" fmla="*/ 233362 w 250031"/>
              <a:gd name="connsiteY4" fmla="*/ 66675 h 264031"/>
              <a:gd name="connsiteX5" fmla="*/ 216693 w 250031"/>
              <a:gd name="connsiteY5" fmla="*/ 40482 h 264031"/>
              <a:gd name="connsiteX6" fmla="*/ 202406 w 250031"/>
              <a:gd name="connsiteY6" fmla="*/ 21432 h 264031"/>
              <a:gd name="connsiteX7" fmla="*/ 180975 w 250031"/>
              <a:gd name="connsiteY7" fmla="*/ 7144 h 264031"/>
              <a:gd name="connsiteX8" fmla="*/ 152400 w 250031"/>
              <a:gd name="connsiteY8" fmla="*/ 0 h 264031"/>
              <a:gd name="connsiteX9" fmla="*/ 123825 w 250031"/>
              <a:gd name="connsiteY9" fmla="*/ 0 h 264031"/>
              <a:gd name="connsiteX10" fmla="*/ 85725 w 250031"/>
              <a:gd name="connsiteY10" fmla="*/ 4763 h 264031"/>
              <a:gd name="connsiteX11" fmla="*/ 59531 w 250031"/>
              <a:gd name="connsiteY11" fmla="*/ 19050 h 264031"/>
              <a:gd name="connsiteX12" fmla="*/ 35718 w 250031"/>
              <a:gd name="connsiteY12" fmla="*/ 40482 h 264031"/>
              <a:gd name="connsiteX13" fmla="*/ 14287 w 250031"/>
              <a:gd name="connsiteY13" fmla="*/ 78582 h 264031"/>
              <a:gd name="connsiteX14" fmla="*/ 2381 w 250031"/>
              <a:gd name="connsiteY14" fmla="*/ 119063 h 264031"/>
              <a:gd name="connsiteX15" fmla="*/ 0 w 250031"/>
              <a:gd name="connsiteY15" fmla="*/ 147638 h 264031"/>
              <a:gd name="connsiteX16" fmla="*/ 0 w 250031"/>
              <a:gd name="connsiteY16" fmla="*/ 195263 h 264031"/>
              <a:gd name="connsiteX17" fmla="*/ 14287 w 250031"/>
              <a:gd name="connsiteY17" fmla="*/ 216694 h 264031"/>
              <a:gd name="connsiteX18" fmla="*/ 61912 w 250031"/>
              <a:gd name="connsiteY18" fmla="*/ 245269 h 264031"/>
              <a:gd name="connsiteX19" fmla="*/ 109537 w 250031"/>
              <a:gd name="connsiteY19" fmla="*/ 259557 h 264031"/>
              <a:gd name="connsiteX20" fmla="*/ 205435 w 250031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74323"/>
              <a:gd name="connsiteX1" fmla="*/ 250031 w 257756"/>
              <a:gd name="connsiteY1" fmla="*/ 222648 h 274323"/>
              <a:gd name="connsiteX2" fmla="*/ 252412 w 257756"/>
              <a:gd name="connsiteY2" fmla="*/ 163116 h 274323"/>
              <a:gd name="connsiteX3" fmla="*/ 245268 w 257756"/>
              <a:gd name="connsiteY3" fmla="*/ 96441 h 274323"/>
              <a:gd name="connsiteX4" fmla="*/ 235743 w 257756"/>
              <a:gd name="connsiteY4" fmla="*/ 67866 h 274323"/>
              <a:gd name="connsiteX5" fmla="*/ 219074 w 257756"/>
              <a:gd name="connsiteY5" fmla="*/ 41673 h 274323"/>
              <a:gd name="connsiteX6" fmla="*/ 204787 w 257756"/>
              <a:gd name="connsiteY6" fmla="*/ 22623 h 274323"/>
              <a:gd name="connsiteX7" fmla="*/ 183356 w 257756"/>
              <a:gd name="connsiteY7" fmla="*/ 8335 h 274323"/>
              <a:gd name="connsiteX8" fmla="*/ 154781 w 257756"/>
              <a:gd name="connsiteY8" fmla="*/ 1191 h 274323"/>
              <a:gd name="connsiteX9" fmla="*/ 126206 w 257756"/>
              <a:gd name="connsiteY9" fmla="*/ 1191 h 274323"/>
              <a:gd name="connsiteX10" fmla="*/ 88106 w 257756"/>
              <a:gd name="connsiteY10" fmla="*/ 5954 h 274323"/>
              <a:gd name="connsiteX11" fmla="*/ 61912 w 257756"/>
              <a:gd name="connsiteY11" fmla="*/ 20241 h 274323"/>
              <a:gd name="connsiteX12" fmla="*/ 38099 w 257756"/>
              <a:gd name="connsiteY12" fmla="*/ 41673 h 274323"/>
              <a:gd name="connsiteX13" fmla="*/ 16668 w 257756"/>
              <a:gd name="connsiteY13" fmla="*/ 79773 h 274323"/>
              <a:gd name="connsiteX14" fmla="*/ 4762 w 257756"/>
              <a:gd name="connsiteY14" fmla="*/ 120254 h 274323"/>
              <a:gd name="connsiteX15" fmla="*/ 2381 w 257756"/>
              <a:gd name="connsiteY15" fmla="*/ 148829 h 274323"/>
              <a:gd name="connsiteX16" fmla="*/ 2381 w 257756"/>
              <a:gd name="connsiteY16" fmla="*/ 196454 h 274323"/>
              <a:gd name="connsiteX17" fmla="*/ 16668 w 257756"/>
              <a:gd name="connsiteY17" fmla="*/ 217885 h 274323"/>
              <a:gd name="connsiteX18" fmla="*/ 64293 w 257756"/>
              <a:gd name="connsiteY18" fmla="*/ 246460 h 274323"/>
              <a:gd name="connsiteX19" fmla="*/ 111918 w 257756"/>
              <a:gd name="connsiteY19" fmla="*/ 260748 h 274323"/>
              <a:gd name="connsiteX20" fmla="*/ 207816 w 257756"/>
              <a:gd name="connsiteY20" fmla="*/ 257064 h 274323"/>
              <a:gd name="connsiteX0" fmla="*/ 207816 w 257756"/>
              <a:gd name="connsiteY0" fmla="*/ 257064 h 274323"/>
              <a:gd name="connsiteX1" fmla="*/ 250031 w 257756"/>
              <a:gd name="connsiteY1" fmla="*/ 222648 h 274323"/>
              <a:gd name="connsiteX2" fmla="*/ 252412 w 257756"/>
              <a:gd name="connsiteY2" fmla="*/ 163116 h 274323"/>
              <a:gd name="connsiteX3" fmla="*/ 245268 w 257756"/>
              <a:gd name="connsiteY3" fmla="*/ 96441 h 274323"/>
              <a:gd name="connsiteX4" fmla="*/ 235743 w 257756"/>
              <a:gd name="connsiteY4" fmla="*/ 67866 h 274323"/>
              <a:gd name="connsiteX5" fmla="*/ 219074 w 257756"/>
              <a:gd name="connsiteY5" fmla="*/ 41673 h 274323"/>
              <a:gd name="connsiteX6" fmla="*/ 204787 w 257756"/>
              <a:gd name="connsiteY6" fmla="*/ 22623 h 274323"/>
              <a:gd name="connsiteX7" fmla="*/ 183356 w 257756"/>
              <a:gd name="connsiteY7" fmla="*/ 8335 h 274323"/>
              <a:gd name="connsiteX8" fmla="*/ 154781 w 257756"/>
              <a:gd name="connsiteY8" fmla="*/ 1191 h 274323"/>
              <a:gd name="connsiteX9" fmla="*/ 126206 w 257756"/>
              <a:gd name="connsiteY9" fmla="*/ 1191 h 274323"/>
              <a:gd name="connsiteX10" fmla="*/ 88106 w 257756"/>
              <a:gd name="connsiteY10" fmla="*/ 5954 h 274323"/>
              <a:gd name="connsiteX11" fmla="*/ 61912 w 257756"/>
              <a:gd name="connsiteY11" fmla="*/ 20241 h 274323"/>
              <a:gd name="connsiteX12" fmla="*/ 38099 w 257756"/>
              <a:gd name="connsiteY12" fmla="*/ 41673 h 274323"/>
              <a:gd name="connsiteX13" fmla="*/ 16668 w 257756"/>
              <a:gd name="connsiteY13" fmla="*/ 79773 h 274323"/>
              <a:gd name="connsiteX14" fmla="*/ 4762 w 257756"/>
              <a:gd name="connsiteY14" fmla="*/ 120254 h 274323"/>
              <a:gd name="connsiteX15" fmla="*/ 2381 w 257756"/>
              <a:gd name="connsiteY15" fmla="*/ 148829 h 274323"/>
              <a:gd name="connsiteX16" fmla="*/ 2381 w 257756"/>
              <a:gd name="connsiteY16" fmla="*/ 196454 h 274323"/>
              <a:gd name="connsiteX17" fmla="*/ 16668 w 257756"/>
              <a:gd name="connsiteY17" fmla="*/ 217885 h 274323"/>
              <a:gd name="connsiteX18" fmla="*/ 64293 w 257756"/>
              <a:gd name="connsiteY18" fmla="*/ 246460 h 274323"/>
              <a:gd name="connsiteX19" fmla="*/ 128378 w 257756"/>
              <a:gd name="connsiteY19" fmla="*/ 265946 h 274323"/>
              <a:gd name="connsiteX20" fmla="*/ 207816 w 257756"/>
              <a:gd name="connsiteY20" fmla="*/ 257064 h 274323"/>
              <a:gd name="connsiteX0" fmla="*/ 207816 w 257756"/>
              <a:gd name="connsiteY0" fmla="*/ 257064 h 269394"/>
              <a:gd name="connsiteX1" fmla="*/ 250031 w 257756"/>
              <a:gd name="connsiteY1" fmla="*/ 222648 h 269394"/>
              <a:gd name="connsiteX2" fmla="*/ 252412 w 257756"/>
              <a:gd name="connsiteY2" fmla="*/ 163116 h 269394"/>
              <a:gd name="connsiteX3" fmla="*/ 245268 w 257756"/>
              <a:gd name="connsiteY3" fmla="*/ 96441 h 269394"/>
              <a:gd name="connsiteX4" fmla="*/ 235743 w 257756"/>
              <a:gd name="connsiteY4" fmla="*/ 67866 h 269394"/>
              <a:gd name="connsiteX5" fmla="*/ 219074 w 257756"/>
              <a:gd name="connsiteY5" fmla="*/ 41673 h 269394"/>
              <a:gd name="connsiteX6" fmla="*/ 204787 w 257756"/>
              <a:gd name="connsiteY6" fmla="*/ 22623 h 269394"/>
              <a:gd name="connsiteX7" fmla="*/ 183356 w 257756"/>
              <a:gd name="connsiteY7" fmla="*/ 8335 h 269394"/>
              <a:gd name="connsiteX8" fmla="*/ 154781 w 257756"/>
              <a:gd name="connsiteY8" fmla="*/ 1191 h 269394"/>
              <a:gd name="connsiteX9" fmla="*/ 126206 w 257756"/>
              <a:gd name="connsiteY9" fmla="*/ 1191 h 269394"/>
              <a:gd name="connsiteX10" fmla="*/ 88106 w 257756"/>
              <a:gd name="connsiteY10" fmla="*/ 5954 h 269394"/>
              <a:gd name="connsiteX11" fmla="*/ 61912 w 257756"/>
              <a:gd name="connsiteY11" fmla="*/ 20241 h 269394"/>
              <a:gd name="connsiteX12" fmla="*/ 38099 w 257756"/>
              <a:gd name="connsiteY12" fmla="*/ 41673 h 269394"/>
              <a:gd name="connsiteX13" fmla="*/ 16668 w 257756"/>
              <a:gd name="connsiteY13" fmla="*/ 79773 h 269394"/>
              <a:gd name="connsiteX14" fmla="*/ 4762 w 257756"/>
              <a:gd name="connsiteY14" fmla="*/ 120254 h 269394"/>
              <a:gd name="connsiteX15" fmla="*/ 2381 w 257756"/>
              <a:gd name="connsiteY15" fmla="*/ 148829 h 269394"/>
              <a:gd name="connsiteX16" fmla="*/ 2381 w 257756"/>
              <a:gd name="connsiteY16" fmla="*/ 196454 h 269394"/>
              <a:gd name="connsiteX17" fmla="*/ 16668 w 257756"/>
              <a:gd name="connsiteY17" fmla="*/ 217885 h 269394"/>
              <a:gd name="connsiteX18" fmla="*/ 64293 w 257756"/>
              <a:gd name="connsiteY18" fmla="*/ 246460 h 269394"/>
              <a:gd name="connsiteX19" fmla="*/ 128378 w 257756"/>
              <a:gd name="connsiteY19" fmla="*/ 265946 h 269394"/>
              <a:gd name="connsiteX20" fmla="*/ 165534 w 257756"/>
              <a:gd name="connsiteY20" fmla="*/ 267146 h 269394"/>
              <a:gd name="connsiteX21" fmla="*/ 207816 w 257756"/>
              <a:gd name="connsiteY21" fmla="*/ 257064 h 269394"/>
              <a:gd name="connsiteX0" fmla="*/ 207816 w 257756"/>
              <a:gd name="connsiteY0" fmla="*/ 257064 h 269394"/>
              <a:gd name="connsiteX1" fmla="*/ 250031 w 257756"/>
              <a:gd name="connsiteY1" fmla="*/ 222648 h 269394"/>
              <a:gd name="connsiteX2" fmla="*/ 252412 w 257756"/>
              <a:gd name="connsiteY2" fmla="*/ 163116 h 269394"/>
              <a:gd name="connsiteX3" fmla="*/ 245268 w 257756"/>
              <a:gd name="connsiteY3" fmla="*/ 96441 h 269394"/>
              <a:gd name="connsiteX4" fmla="*/ 235743 w 257756"/>
              <a:gd name="connsiteY4" fmla="*/ 67866 h 269394"/>
              <a:gd name="connsiteX5" fmla="*/ 219074 w 257756"/>
              <a:gd name="connsiteY5" fmla="*/ 41673 h 269394"/>
              <a:gd name="connsiteX6" fmla="*/ 204787 w 257756"/>
              <a:gd name="connsiteY6" fmla="*/ 22623 h 269394"/>
              <a:gd name="connsiteX7" fmla="*/ 183356 w 257756"/>
              <a:gd name="connsiteY7" fmla="*/ 8335 h 269394"/>
              <a:gd name="connsiteX8" fmla="*/ 154781 w 257756"/>
              <a:gd name="connsiteY8" fmla="*/ 1191 h 269394"/>
              <a:gd name="connsiteX9" fmla="*/ 126206 w 257756"/>
              <a:gd name="connsiteY9" fmla="*/ 1191 h 269394"/>
              <a:gd name="connsiteX10" fmla="*/ 88106 w 257756"/>
              <a:gd name="connsiteY10" fmla="*/ 5954 h 269394"/>
              <a:gd name="connsiteX11" fmla="*/ 61912 w 257756"/>
              <a:gd name="connsiteY11" fmla="*/ 20241 h 269394"/>
              <a:gd name="connsiteX12" fmla="*/ 38099 w 257756"/>
              <a:gd name="connsiteY12" fmla="*/ 41673 h 269394"/>
              <a:gd name="connsiteX13" fmla="*/ 16668 w 257756"/>
              <a:gd name="connsiteY13" fmla="*/ 79773 h 269394"/>
              <a:gd name="connsiteX14" fmla="*/ 4762 w 257756"/>
              <a:gd name="connsiteY14" fmla="*/ 120254 h 269394"/>
              <a:gd name="connsiteX15" fmla="*/ 2381 w 257756"/>
              <a:gd name="connsiteY15" fmla="*/ 148829 h 269394"/>
              <a:gd name="connsiteX16" fmla="*/ 2381 w 257756"/>
              <a:gd name="connsiteY16" fmla="*/ 196454 h 269394"/>
              <a:gd name="connsiteX17" fmla="*/ 16668 w 257756"/>
              <a:gd name="connsiteY17" fmla="*/ 217885 h 269394"/>
              <a:gd name="connsiteX18" fmla="*/ 64293 w 257756"/>
              <a:gd name="connsiteY18" fmla="*/ 246460 h 269394"/>
              <a:gd name="connsiteX19" fmla="*/ 128378 w 257756"/>
              <a:gd name="connsiteY19" fmla="*/ 265946 h 269394"/>
              <a:gd name="connsiteX20" fmla="*/ 165534 w 257756"/>
              <a:gd name="connsiteY20" fmla="*/ 267146 h 269394"/>
              <a:gd name="connsiteX21" fmla="*/ 207816 w 257756"/>
              <a:gd name="connsiteY21" fmla="*/ 257064 h 269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57756" h="269394">
                <a:moveTo>
                  <a:pt x="207816" y="257064"/>
                </a:moveTo>
                <a:cubicBezTo>
                  <a:pt x="234016" y="240394"/>
                  <a:pt x="235959" y="234120"/>
                  <a:pt x="250031" y="222648"/>
                </a:cubicBezTo>
                <a:cubicBezTo>
                  <a:pt x="257756" y="202804"/>
                  <a:pt x="253161" y="182962"/>
                  <a:pt x="252412" y="163116"/>
                </a:cubicBezTo>
                <a:cubicBezTo>
                  <a:pt x="251618" y="142082"/>
                  <a:pt x="248046" y="112316"/>
                  <a:pt x="245268" y="96441"/>
                </a:cubicBezTo>
                <a:cubicBezTo>
                  <a:pt x="242490" y="80566"/>
                  <a:pt x="240109" y="76994"/>
                  <a:pt x="235743" y="67866"/>
                </a:cubicBezTo>
                <a:cubicBezTo>
                  <a:pt x="231377" y="58738"/>
                  <a:pt x="224233" y="49214"/>
                  <a:pt x="219074" y="41673"/>
                </a:cubicBezTo>
                <a:cubicBezTo>
                  <a:pt x="213915" y="34132"/>
                  <a:pt x="210740" y="28179"/>
                  <a:pt x="204787" y="22623"/>
                </a:cubicBezTo>
                <a:cubicBezTo>
                  <a:pt x="198834" y="17067"/>
                  <a:pt x="191690" y="11907"/>
                  <a:pt x="183356" y="8335"/>
                </a:cubicBezTo>
                <a:cubicBezTo>
                  <a:pt x="175022" y="4763"/>
                  <a:pt x="164306" y="2382"/>
                  <a:pt x="154781" y="1191"/>
                </a:cubicBezTo>
                <a:cubicBezTo>
                  <a:pt x="145256" y="0"/>
                  <a:pt x="137318" y="397"/>
                  <a:pt x="126206" y="1191"/>
                </a:cubicBezTo>
                <a:cubicBezTo>
                  <a:pt x="115094" y="1985"/>
                  <a:pt x="98822" y="2779"/>
                  <a:pt x="88106" y="5954"/>
                </a:cubicBezTo>
                <a:cubicBezTo>
                  <a:pt x="77390" y="9129"/>
                  <a:pt x="70247" y="14288"/>
                  <a:pt x="61912" y="20241"/>
                </a:cubicBezTo>
                <a:cubicBezTo>
                  <a:pt x="53578" y="26194"/>
                  <a:pt x="45640" y="31751"/>
                  <a:pt x="38099" y="41673"/>
                </a:cubicBezTo>
                <a:cubicBezTo>
                  <a:pt x="30558" y="51595"/>
                  <a:pt x="22224" y="66676"/>
                  <a:pt x="16668" y="79773"/>
                </a:cubicBezTo>
                <a:cubicBezTo>
                  <a:pt x="11112" y="92870"/>
                  <a:pt x="7143" y="108745"/>
                  <a:pt x="4762" y="120254"/>
                </a:cubicBezTo>
                <a:cubicBezTo>
                  <a:pt x="2381" y="131763"/>
                  <a:pt x="2778" y="136129"/>
                  <a:pt x="2381" y="148829"/>
                </a:cubicBezTo>
                <a:cubicBezTo>
                  <a:pt x="1984" y="161529"/>
                  <a:pt x="0" y="184945"/>
                  <a:pt x="2381" y="196454"/>
                </a:cubicBezTo>
                <a:cubicBezTo>
                  <a:pt x="4762" y="207963"/>
                  <a:pt x="6349" y="209551"/>
                  <a:pt x="16668" y="217885"/>
                </a:cubicBezTo>
                <a:cubicBezTo>
                  <a:pt x="26987" y="226219"/>
                  <a:pt x="45675" y="238450"/>
                  <a:pt x="64293" y="246460"/>
                </a:cubicBezTo>
                <a:cubicBezTo>
                  <a:pt x="82911" y="254470"/>
                  <a:pt x="111505" y="262498"/>
                  <a:pt x="128378" y="265946"/>
                </a:cubicBezTo>
                <a:cubicBezTo>
                  <a:pt x="145251" y="269394"/>
                  <a:pt x="152294" y="268626"/>
                  <a:pt x="165534" y="267146"/>
                </a:cubicBezTo>
                <a:cubicBezTo>
                  <a:pt x="178774" y="265666"/>
                  <a:pt x="193733" y="264480"/>
                  <a:pt x="207816" y="257064"/>
                </a:cubicBezTo>
                <a:close/>
              </a:path>
            </a:pathLst>
          </a:custGeom>
          <a:gradFill flip="none" rotWithShape="1">
            <a:gsLst>
              <a:gs pos="70000">
                <a:schemeClr val="tx2">
                  <a:lumMod val="75000"/>
                </a:schemeClr>
              </a:gs>
              <a:gs pos="21000">
                <a:schemeClr val="accent1">
                  <a:tint val="44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46" name="Ellipse 145"/>
          <p:cNvSpPr/>
          <p:nvPr/>
        </p:nvSpPr>
        <p:spPr>
          <a:xfrm>
            <a:off x="3491783" y="5479256"/>
            <a:ext cx="198487" cy="198486"/>
          </a:xfrm>
          <a:prstGeom prst="ellipse">
            <a:avLst/>
          </a:prstGeom>
          <a:gradFill flip="none" rotWithShape="1">
            <a:gsLst>
              <a:gs pos="46000">
                <a:schemeClr val="tx2">
                  <a:lumMod val="75000"/>
                  <a:alpha val="83000"/>
                </a:schemeClr>
              </a:gs>
              <a:gs pos="21000">
                <a:schemeClr val="accent1">
                  <a:tint val="44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63" name="Freihandform 162"/>
          <p:cNvSpPr>
            <a:spLocks noChangeAspect="1"/>
          </p:cNvSpPr>
          <p:nvPr/>
        </p:nvSpPr>
        <p:spPr>
          <a:xfrm>
            <a:off x="2673813" y="5658471"/>
            <a:ext cx="288000" cy="301003"/>
          </a:xfrm>
          <a:custGeom>
            <a:avLst/>
            <a:gdLst>
              <a:gd name="connsiteX0" fmla="*/ 211931 w 250031"/>
              <a:gd name="connsiteY0" fmla="*/ 276225 h 276225"/>
              <a:gd name="connsiteX1" fmla="*/ 247650 w 250031"/>
              <a:gd name="connsiteY1" fmla="*/ 221457 h 276225"/>
              <a:gd name="connsiteX2" fmla="*/ 250031 w 250031"/>
              <a:gd name="connsiteY2" fmla="*/ 161925 h 276225"/>
              <a:gd name="connsiteX3" fmla="*/ 242887 w 250031"/>
              <a:gd name="connsiteY3" fmla="*/ 95250 h 276225"/>
              <a:gd name="connsiteX4" fmla="*/ 233362 w 250031"/>
              <a:gd name="connsiteY4" fmla="*/ 66675 h 276225"/>
              <a:gd name="connsiteX5" fmla="*/ 216693 w 250031"/>
              <a:gd name="connsiteY5" fmla="*/ 40482 h 276225"/>
              <a:gd name="connsiteX6" fmla="*/ 202406 w 250031"/>
              <a:gd name="connsiteY6" fmla="*/ 21432 h 276225"/>
              <a:gd name="connsiteX7" fmla="*/ 180975 w 250031"/>
              <a:gd name="connsiteY7" fmla="*/ 7144 h 276225"/>
              <a:gd name="connsiteX8" fmla="*/ 152400 w 250031"/>
              <a:gd name="connsiteY8" fmla="*/ 0 h 276225"/>
              <a:gd name="connsiteX9" fmla="*/ 123825 w 250031"/>
              <a:gd name="connsiteY9" fmla="*/ 0 h 276225"/>
              <a:gd name="connsiteX10" fmla="*/ 85725 w 250031"/>
              <a:gd name="connsiteY10" fmla="*/ 4763 h 276225"/>
              <a:gd name="connsiteX11" fmla="*/ 59531 w 250031"/>
              <a:gd name="connsiteY11" fmla="*/ 19050 h 276225"/>
              <a:gd name="connsiteX12" fmla="*/ 35718 w 250031"/>
              <a:gd name="connsiteY12" fmla="*/ 40482 h 276225"/>
              <a:gd name="connsiteX13" fmla="*/ 14287 w 250031"/>
              <a:gd name="connsiteY13" fmla="*/ 78582 h 276225"/>
              <a:gd name="connsiteX14" fmla="*/ 2381 w 250031"/>
              <a:gd name="connsiteY14" fmla="*/ 119063 h 276225"/>
              <a:gd name="connsiteX15" fmla="*/ 0 w 250031"/>
              <a:gd name="connsiteY15" fmla="*/ 147638 h 276225"/>
              <a:gd name="connsiteX16" fmla="*/ 0 w 250031"/>
              <a:gd name="connsiteY16" fmla="*/ 195263 h 276225"/>
              <a:gd name="connsiteX17" fmla="*/ 14287 w 250031"/>
              <a:gd name="connsiteY17" fmla="*/ 216694 h 276225"/>
              <a:gd name="connsiteX18" fmla="*/ 61912 w 250031"/>
              <a:gd name="connsiteY18" fmla="*/ 245269 h 276225"/>
              <a:gd name="connsiteX19" fmla="*/ 109537 w 250031"/>
              <a:gd name="connsiteY19" fmla="*/ 259557 h 276225"/>
              <a:gd name="connsiteX20" fmla="*/ 211931 w 250031"/>
              <a:gd name="connsiteY20" fmla="*/ 276225 h 276225"/>
              <a:gd name="connsiteX0" fmla="*/ 207168 w 250031"/>
              <a:gd name="connsiteY0" fmla="*/ 261937 h 261937"/>
              <a:gd name="connsiteX1" fmla="*/ 247650 w 250031"/>
              <a:gd name="connsiteY1" fmla="*/ 221457 h 261937"/>
              <a:gd name="connsiteX2" fmla="*/ 250031 w 250031"/>
              <a:gd name="connsiteY2" fmla="*/ 161925 h 261937"/>
              <a:gd name="connsiteX3" fmla="*/ 242887 w 250031"/>
              <a:gd name="connsiteY3" fmla="*/ 95250 h 261937"/>
              <a:gd name="connsiteX4" fmla="*/ 233362 w 250031"/>
              <a:gd name="connsiteY4" fmla="*/ 66675 h 261937"/>
              <a:gd name="connsiteX5" fmla="*/ 216693 w 250031"/>
              <a:gd name="connsiteY5" fmla="*/ 40482 h 261937"/>
              <a:gd name="connsiteX6" fmla="*/ 202406 w 250031"/>
              <a:gd name="connsiteY6" fmla="*/ 21432 h 261937"/>
              <a:gd name="connsiteX7" fmla="*/ 180975 w 250031"/>
              <a:gd name="connsiteY7" fmla="*/ 7144 h 261937"/>
              <a:gd name="connsiteX8" fmla="*/ 152400 w 250031"/>
              <a:gd name="connsiteY8" fmla="*/ 0 h 261937"/>
              <a:gd name="connsiteX9" fmla="*/ 123825 w 250031"/>
              <a:gd name="connsiteY9" fmla="*/ 0 h 261937"/>
              <a:gd name="connsiteX10" fmla="*/ 85725 w 250031"/>
              <a:gd name="connsiteY10" fmla="*/ 4763 h 261937"/>
              <a:gd name="connsiteX11" fmla="*/ 59531 w 250031"/>
              <a:gd name="connsiteY11" fmla="*/ 19050 h 261937"/>
              <a:gd name="connsiteX12" fmla="*/ 35718 w 250031"/>
              <a:gd name="connsiteY12" fmla="*/ 40482 h 261937"/>
              <a:gd name="connsiteX13" fmla="*/ 14287 w 250031"/>
              <a:gd name="connsiteY13" fmla="*/ 78582 h 261937"/>
              <a:gd name="connsiteX14" fmla="*/ 2381 w 250031"/>
              <a:gd name="connsiteY14" fmla="*/ 119063 h 261937"/>
              <a:gd name="connsiteX15" fmla="*/ 0 w 250031"/>
              <a:gd name="connsiteY15" fmla="*/ 147638 h 261937"/>
              <a:gd name="connsiteX16" fmla="*/ 0 w 250031"/>
              <a:gd name="connsiteY16" fmla="*/ 195263 h 261937"/>
              <a:gd name="connsiteX17" fmla="*/ 14287 w 250031"/>
              <a:gd name="connsiteY17" fmla="*/ 216694 h 261937"/>
              <a:gd name="connsiteX18" fmla="*/ 61912 w 250031"/>
              <a:gd name="connsiteY18" fmla="*/ 245269 h 261937"/>
              <a:gd name="connsiteX19" fmla="*/ 109537 w 250031"/>
              <a:gd name="connsiteY19" fmla="*/ 259557 h 261937"/>
              <a:gd name="connsiteX20" fmla="*/ 207168 w 250031"/>
              <a:gd name="connsiteY20" fmla="*/ 261937 h 261937"/>
              <a:gd name="connsiteX0" fmla="*/ 205435 w 250031"/>
              <a:gd name="connsiteY0" fmla="*/ 255873 h 259557"/>
              <a:gd name="connsiteX1" fmla="*/ 247650 w 250031"/>
              <a:gd name="connsiteY1" fmla="*/ 221457 h 259557"/>
              <a:gd name="connsiteX2" fmla="*/ 250031 w 250031"/>
              <a:gd name="connsiteY2" fmla="*/ 161925 h 259557"/>
              <a:gd name="connsiteX3" fmla="*/ 242887 w 250031"/>
              <a:gd name="connsiteY3" fmla="*/ 95250 h 259557"/>
              <a:gd name="connsiteX4" fmla="*/ 233362 w 250031"/>
              <a:gd name="connsiteY4" fmla="*/ 66675 h 259557"/>
              <a:gd name="connsiteX5" fmla="*/ 216693 w 250031"/>
              <a:gd name="connsiteY5" fmla="*/ 40482 h 259557"/>
              <a:gd name="connsiteX6" fmla="*/ 202406 w 250031"/>
              <a:gd name="connsiteY6" fmla="*/ 21432 h 259557"/>
              <a:gd name="connsiteX7" fmla="*/ 180975 w 250031"/>
              <a:gd name="connsiteY7" fmla="*/ 7144 h 259557"/>
              <a:gd name="connsiteX8" fmla="*/ 152400 w 250031"/>
              <a:gd name="connsiteY8" fmla="*/ 0 h 259557"/>
              <a:gd name="connsiteX9" fmla="*/ 123825 w 250031"/>
              <a:gd name="connsiteY9" fmla="*/ 0 h 259557"/>
              <a:gd name="connsiteX10" fmla="*/ 85725 w 250031"/>
              <a:gd name="connsiteY10" fmla="*/ 4763 h 259557"/>
              <a:gd name="connsiteX11" fmla="*/ 59531 w 250031"/>
              <a:gd name="connsiteY11" fmla="*/ 19050 h 259557"/>
              <a:gd name="connsiteX12" fmla="*/ 35718 w 250031"/>
              <a:gd name="connsiteY12" fmla="*/ 40482 h 259557"/>
              <a:gd name="connsiteX13" fmla="*/ 14287 w 250031"/>
              <a:gd name="connsiteY13" fmla="*/ 78582 h 259557"/>
              <a:gd name="connsiteX14" fmla="*/ 2381 w 250031"/>
              <a:gd name="connsiteY14" fmla="*/ 119063 h 259557"/>
              <a:gd name="connsiteX15" fmla="*/ 0 w 250031"/>
              <a:gd name="connsiteY15" fmla="*/ 147638 h 259557"/>
              <a:gd name="connsiteX16" fmla="*/ 0 w 250031"/>
              <a:gd name="connsiteY16" fmla="*/ 195263 h 259557"/>
              <a:gd name="connsiteX17" fmla="*/ 14287 w 250031"/>
              <a:gd name="connsiteY17" fmla="*/ 216694 h 259557"/>
              <a:gd name="connsiteX18" fmla="*/ 61912 w 250031"/>
              <a:gd name="connsiteY18" fmla="*/ 245269 h 259557"/>
              <a:gd name="connsiteX19" fmla="*/ 109537 w 250031"/>
              <a:gd name="connsiteY19" fmla="*/ 259557 h 259557"/>
              <a:gd name="connsiteX20" fmla="*/ 205435 w 250031"/>
              <a:gd name="connsiteY20" fmla="*/ 255873 h 259557"/>
              <a:gd name="connsiteX0" fmla="*/ 205435 w 250031"/>
              <a:gd name="connsiteY0" fmla="*/ 255873 h 264031"/>
              <a:gd name="connsiteX1" fmla="*/ 247650 w 250031"/>
              <a:gd name="connsiteY1" fmla="*/ 221457 h 264031"/>
              <a:gd name="connsiteX2" fmla="*/ 250031 w 250031"/>
              <a:gd name="connsiteY2" fmla="*/ 161925 h 264031"/>
              <a:gd name="connsiteX3" fmla="*/ 242887 w 250031"/>
              <a:gd name="connsiteY3" fmla="*/ 95250 h 264031"/>
              <a:gd name="connsiteX4" fmla="*/ 233362 w 250031"/>
              <a:gd name="connsiteY4" fmla="*/ 66675 h 264031"/>
              <a:gd name="connsiteX5" fmla="*/ 216693 w 250031"/>
              <a:gd name="connsiteY5" fmla="*/ 40482 h 264031"/>
              <a:gd name="connsiteX6" fmla="*/ 202406 w 250031"/>
              <a:gd name="connsiteY6" fmla="*/ 21432 h 264031"/>
              <a:gd name="connsiteX7" fmla="*/ 180975 w 250031"/>
              <a:gd name="connsiteY7" fmla="*/ 7144 h 264031"/>
              <a:gd name="connsiteX8" fmla="*/ 152400 w 250031"/>
              <a:gd name="connsiteY8" fmla="*/ 0 h 264031"/>
              <a:gd name="connsiteX9" fmla="*/ 123825 w 250031"/>
              <a:gd name="connsiteY9" fmla="*/ 0 h 264031"/>
              <a:gd name="connsiteX10" fmla="*/ 85725 w 250031"/>
              <a:gd name="connsiteY10" fmla="*/ 4763 h 264031"/>
              <a:gd name="connsiteX11" fmla="*/ 59531 w 250031"/>
              <a:gd name="connsiteY11" fmla="*/ 19050 h 264031"/>
              <a:gd name="connsiteX12" fmla="*/ 35718 w 250031"/>
              <a:gd name="connsiteY12" fmla="*/ 40482 h 264031"/>
              <a:gd name="connsiteX13" fmla="*/ 14287 w 250031"/>
              <a:gd name="connsiteY13" fmla="*/ 78582 h 264031"/>
              <a:gd name="connsiteX14" fmla="*/ 2381 w 250031"/>
              <a:gd name="connsiteY14" fmla="*/ 119063 h 264031"/>
              <a:gd name="connsiteX15" fmla="*/ 0 w 250031"/>
              <a:gd name="connsiteY15" fmla="*/ 147638 h 264031"/>
              <a:gd name="connsiteX16" fmla="*/ 0 w 250031"/>
              <a:gd name="connsiteY16" fmla="*/ 195263 h 264031"/>
              <a:gd name="connsiteX17" fmla="*/ 14287 w 250031"/>
              <a:gd name="connsiteY17" fmla="*/ 216694 h 264031"/>
              <a:gd name="connsiteX18" fmla="*/ 61912 w 250031"/>
              <a:gd name="connsiteY18" fmla="*/ 245269 h 264031"/>
              <a:gd name="connsiteX19" fmla="*/ 109537 w 250031"/>
              <a:gd name="connsiteY19" fmla="*/ 259557 h 264031"/>
              <a:gd name="connsiteX20" fmla="*/ 205435 w 250031"/>
              <a:gd name="connsiteY20" fmla="*/ 255873 h 264031"/>
              <a:gd name="connsiteX0" fmla="*/ 205435 w 250031"/>
              <a:gd name="connsiteY0" fmla="*/ 255873 h 264031"/>
              <a:gd name="connsiteX1" fmla="*/ 247650 w 250031"/>
              <a:gd name="connsiteY1" fmla="*/ 221457 h 264031"/>
              <a:gd name="connsiteX2" fmla="*/ 250031 w 250031"/>
              <a:gd name="connsiteY2" fmla="*/ 161925 h 264031"/>
              <a:gd name="connsiteX3" fmla="*/ 242887 w 250031"/>
              <a:gd name="connsiteY3" fmla="*/ 95250 h 264031"/>
              <a:gd name="connsiteX4" fmla="*/ 233362 w 250031"/>
              <a:gd name="connsiteY4" fmla="*/ 66675 h 264031"/>
              <a:gd name="connsiteX5" fmla="*/ 216693 w 250031"/>
              <a:gd name="connsiteY5" fmla="*/ 40482 h 264031"/>
              <a:gd name="connsiteX6" fmla="*/ 202406 w 250031"/>
              <a:gd name="connsiteY6" fmla="*/ 21432 h 264031"/>
              <a:gd name="connsiteX7" fmla="*/ 180975 w 250031"/>
              <a:gd name="connsiteY7" fmla="*/ 7144 h 264031"/>
              <a:gd name="connsiteX8" fmla="*/ 152400 w 250031"/>
              <a:gd name="connsiteY8" fmla="*/ 0 h 264031"/>
              <a:gd name="connsiteX9" fmla="*/ 123825 w 250031"/>
              <a:gd name="connsiteY9" fmla="*/ 0 h 264031"/>
              <a:gd name="connsiteX10" fmla="*/ 85725 w 250031"/>
              <a:gd name="connsiteY10" fmla="*/ 4763 h 264031"/>
              <a:gd name="connsiteX11" fmla="*/ 59531 w 250031"/>
              <a:gd name="connsiteY11" fmla="*/ 19050 h 264031"/>
              <a:gd name="connsiteX12" fmla="*/ 35718 w 250031"/>
              <a:gd name="connsiteY12" fmla="*/ 40482 h 264031"/>
              <a:gd name="connsiteX13" fmla="*/ 14287 w 250031"/>
              <a:gd name="connsiteY13" fmla="*/ 78582 h 264031"/>
              <a:gd name="connsiteX14" fmla="*/ 2381 w 250031"/>
              <a:gd name="connsiteY14" fmla="*/ 119063 h 264031"/>
              <a:gd name="connsiteX15" fmla="*/ 0 w 250031"/>
              <a:gd name="connsiteY15" fmla="*/ 147638 h 264031"/>
              <a:gd name="connsiteX16" fmla="*/ 0 w 250031"/>
              <a:gd name="connsiteY16" fmla="*/ 195263 h 264031"/>
              <a:gd name="connsiteX17" fmla="*/ 14287 w 250031"/>
              <a:gd name="connsiteY17" fmla="*/ 216694 h 264031"/>
              <a:gd name="connsiteX18" fmla="*/ 61912 w 250031"/>
              <a:gd name="connsiteY18" fmla="*/ 245269 h 264031"/>
              <a:gd name="connsiteX19" fmla="*/ 109537 w 250031"/>
              <a:gd name="connsiteY19" fmla="*/ 259557 h 264031"/>
              <a:gd name="connsiteX20" fmla="*/ 205435 w 250031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74323"/>
              <a:gd name="connsiteX1" fmla="*/ 250031 w 257756"/>
              <a:gd name="connsiteY1" fmla="*/ 222648 h 274323"/>
              <a:gd name="connsiteX2" fmla="*/ 252412 w 257756"/>
              <a:gd name="connsiteY2" fmla="*/ 163116 h 274323"/>
              <a:gd name="connsiteX3" fmla="*/ 245268 w 257756"/>
              <a:gd name="connsiteY3" fmla="*/ 96441 h 274323"/>
              <a:gd name="connsiteX4" fmla="*/ 235743 w 257756"/>
              <a:gd name="connsiteY4" fmla="*/ 67866 h 274323"/>
              <a:gd name="connsiteX5" fmla="*/ 219074 w 257756"/>
              <a:gd name="connsiteY5" fmla="*/ 41673 h 274323"/>
              <a:gd name="connsiteX6" fmla="*/ 204787 w 257756"/>
              <a:gd name="connsiteY6" fmla="*/ 22623 h 274323"/>
              <a:gd name="connsiteX7" fmla="*/ 183356 w 257756"/>
              <a:gd name="connsiteY7" fmla="*/ 8335 h 274323"/>
              <a:gd name="connsiteX8" fmla="*/ 154781 w 257756"/>
              <a:gd name="connsiteY8" fmla="*/ 1191 h 274323"/>
              <a:gd name="connsiteX9" fmla="*/ 126206 w 257756"/>
              <a:gd name="connsiteY9" fmla="*/ 1191 h 274323"/>
              <a:gd name="connsiteX10" fmla="*/ 88106 w 257756"/>
              <a:gd name="connsiteY10" fmla="*/ 5954 h 274323"/>
              <a:gd name="connsiteX11" fmla="*/ 61912 w 257756"/>
              <a:gd name="connsiteY11" fmla="*/ 20241 h 274323"/>
              <a:gd name="connsiteX12" fmla="*/ 38099 w 257756"/>
              <a:gd name="connsiteY12" fmla="*/ 41673 h 274323"/>
              <a:gd name="connsiteX13" fmla="*/ 16668 w 257756"/>
              <a:gd name="connsiteY13" fmla="*/ 79773 h 274323"/>
              <a:gd name="connsiteX14" fmla="*/ 4762 w 257756"/>
              <a:gd name="connsiteY14" fmla="*/ 120254 h 274323"/>
              <a:gd name="connsiteX15" fmla="*/ 2381 w 257756"/>
              <a:gd name="connsiteY15" fmla="*/ 148829 h 274323"/>
              <a:gd name="connsiteX16" fmla="*/ 2381 w 257756"/>
              <a:gd name="connsiteY16" fmla="*/ 196454 h 274323"/>
              <a:gd name="connsiteX17" fmla="*/ 16668 w 257756"/>
              <a:gd name="connsiteY17" fmla="*/ 217885 h 274323"/>
              <a:gd name="connsiteX18" fmla="*/ 64293 w 257756"/>
              <a:gd name="connsiteY18" fmla="*/ 246460 h 274323"/>
              <a:gd name="connsiteX19" fmla="*/ 111918 w 257756"/>
              <a:gd name="connsiteY19" fmla="*/ 260748 h 274323"/>
              <a:gd name="connsiteX20" fmla="*/ 207816 w 257756"/>
              <a:gd name="connsiteY20" fmla="*/ 257064 h 274323"/>
              <a:gd name="connsiteX0" fmla="*/ 207816 w 257756"/>
              <a:gd name="connsiteY0" fmla="*/ 257064 h 274323"/>
              <a:gd name="connsiteX1" fmla="*/ 250031 w 257756"/>
              <a:gd name="connsiteY1" fmla="*/ 222648 h 274323"/>
              <a:gd name="connsiteX2" fmla="*/ 252412 w 257756"/>
              <a:gd name="connsiteY2" fmla="*/ 163116 h 274323"/>
              <a:gd name="connsiteX3" fmla="*/ 245268 w 257756"/>
              <a:gd name="connsiteY3" fmla="*/ 96441 h 274323"/>
              <a:gd name="connsiteX4" fmla="*/ 235743 w 257756"/>
              <a:gd name="connsiteY4" fmla="*/ 67866 h 274323"/>
              <a:gd name="connsiteX5" fmla="*/ 219074 w 257756"/>
              <a:gd name="connsiteY5" fmla="*/ 41673 h 274323"/>
              <a:gd name="connsiteX6" fmla="*/ 204787 w 257756"/>
              <a:gd name="connsiteY6" fmla="*/ 22623 h 274323"/>
              <a:gd name="connsiteX7" fmla="*/ 183356 w 257756"/>
              <a:gd name="connsiteY7" fmla="*/ 8335 h 274323"/>
              <a:gd name="connsiteX8" fmla="*/ 154781 w 257756"/>
              <a:gd name="connsiteY8" fmla="*/ 1191 h 274323"/>
              <a:gd name="connsiteX9" fmla="*/ 126206 w 257756"/>
              <a:gd name="connsiteY9" fmla="*/ 1191 h 274323"/>
              <a:gd name="connsiteX10" fmla="*/ 88106 w 257756"/>
              <a:gd name="connsiteY10" fmla="*/ 5954 h 274323"/>
              <a:gd name="connsiteX11" fmla="*/ 61912 w 257756"/>
              <a:gd name="connsiteY11" fmla="*/ 20241 h 274323"/>
              <a:gd name="connsiteX12" fmla="*/ 38099 w 257756"/>
              <a:gd name="connsiteY12" fmla="*/ 41673 h 274323"/>
              <a:gd name="connsiteX13" fmla="*/ 16668 w 257756"/>
              <a:gd name="connsiteY13" fmla="*/ 79773 h 274323"/>
              <a:gd name="connsiteX14" fmla="*/ 4762 w 257756"/>
              <a:gd name="connsiteY14" fmla="*/ 120254 h 274323"/>
              <a:gd name="connsiteX15" fmla="*/ 2381 w 257756"/>
              <a:gd name="connsiteY15" fmla="*/ 148829 h 274323"/>
              <a:gd name="connsiteX16" fmla="*/ 2381 w 257756"/>
              <a:gd name="connsiteY16" fmla="*/ 196454 h 274323"/>
              <a:gd name="connsiteX17" fmla="*/ 16668 w 257756"/>
              <a:gd name="connsiteY17" fmla="*/ 217885 h 274323"/>
              <a:gd name="connsiteX18" fmla="*/ 64293 w 257756"/>
              <a:gd name="connsiteY18" fmla="*/ 246460 h 274323"/>
              <a:gd name="connsiteX19" fmla="*/ 128378 w 257756"/>
              <a:gd name="connsiteY19" fmla="*/ 265946 h 274323"/>
              <a:gd name="connsiteX20" fmla="*/ 207816 w 257756"/>
              <a:gd name="connsiteY20" fmla="*/ 257064 h 274323"/>
              <a:gd name="connsiteX0" fmla="*/ 207816 w 257756"/>
              <a:gd name="connsiteY0" fmla="*/ 257064 h 269394"/>
              <a:gd name="connsiteX1" fmla="*/ 250031 w 257756"/>
              <a:gd name="connsiteY1" fmla="*/ 222648 h 269394"/>
              <a:gd name="connsiteX2" fmla="*/ 252412 w 257756"/>
              <a:gd name="connsiteY2" fmla="*/ 163116 h 269394"/>
              <a:gd name="connsiteX3" fmla="*/ 245268 w 257756"/>
              <a:gd name="connsiteY3" fmla="*/ 96441 h 269394"/>
              <a:gd name="connsiteX4" fmla="*/ 235743 w 257756"/>
              <a:gd name="connsiteY4" fmla="*/ 67866 h 269394"/>
              <a:gd name="connsiteX5" fmla="*/ 219074 w 257756"/>
              <a:gd name="connsiteY5" fmla="*/ 41673 h 269394"/>
              <a:gd name="connsiteX6" fmla="*/ 204787 w 257756"/>
              <a:gd name="connsiteY6" fmla="*/ 22623 h 269394"/>
              <a:gd name="connsiteX7" fmla="*/ 183356 w 257756"/>
              <a:gd name="connsiteY7" fmla="*/ 8335 h 269394"/>
              <a:gd name="connsiteX8" fmla="*/ 154781 w 257756"/>
              <a:gd name="connsiteY8" fmla="*/ 1191 h 269394"/>
              <a:gd name="connsiteX9" fmla="*/ 126206 w 257756"/>
              <a:gd name="connsiteY9" fmla="*/ 1191 h 269394"/>
              <a:gd name="connsiteX10" fmla="*/ 88106 w 257756"/>
              <a:gd name="connsiteY10" fmla="*/ 5954 h 269394"/>
              <a:gd name="connsiteX11" fmla="*/ 61912 w 257756"/>
              <a:gd name="connsiteY11" fmla="*/ 20241 h 269394"/>
              <a:gd name="connsiteX12" fmla="*/ 38099 w 257756"/>
              <a:gd name="connsiteY12" fmla="*/ 41673 h 269394"/>
              <a:gd name="connsiteX13" fmla="*/ 16668 w 257756"/>
              <a:gd name="connsiteY13" fmla="*/ 79773 h 269394"/>
              <a:gd name="connsiteX14" fmla="*/ 4762 w 257756"/>
              <a:gd name="connsiteY14" fmla="*/ 120254 h 269394"/>
              <a:gd name="connsiteX15" fmla="*/ 2381 w 257756"/>
              <a:gd name="connsiteY15" fmla="*/ 148829 h 269394"/>
              <a:gd name="connsiteX16" fmla="*/ 2381 w 257756"/>
              <a:gd name="connsiteY16" fmla="*/ 196454 h 269394"/>
              <a:gd name="connsiteX17" fmla="*/ 16668 w 257756"/>
              <a:gd name="connsiteY17" fmla="*/ 217885 h 269394"/>
              <a:gd name="connsiteX18" fmla="*/ 64293 w 257756"/>
              <a:gd name="connsiteY18" fmla="*/ 246460 h 269394"/>
              <a:gd name="connsiteX19" fmla="*/ 128378 w 257756"/>
              <a:gd name="connsiteY19" fmla="*/ 265946 h 269394"/>
              <a:gd name="connsiteX20" fmla="*/ 165534 w 257756"/>
              <a:gd name="connsiteY20" fmla="*/ 267146 h 269394"/>
              <a:gd name="connsiteX21" fmla="*/ 207816 w 257756"/>
              <a:gd name="connsiteY21" fmla="*/ 257064 h 269394"/>
              <a:gd name="connsiteX0" fmla="*/ 207816 w 257756"/>
              <a:gd name="connsiteY0" fmla="*/ 257064 h 269394"/>
              <a:gd name="connsiteX1" fmla="*/ 250031 w 257756"/>
              <a:gd name="connsiteY1" fmla="*/ 222648 h 269394"/>
              <a:gd name="connsiteX2" fmla="*/ 252412 w 257756"/>
              <a:gd name="connsiteY2" fmla="*/ 163116 h 269394"/>
              <a:gd name="connsiteX3" fmla="*/ 245268 w 257756"/>
              <a:gd name="connsiteY3" fmla="*/ 96441 h 269394"/>
              <a:gd name="connsiteX4" fmla="*/ 235743 w 257756"/>
              <a:gd name="connsiteY4" fmla="*/ 67866 h 269394"/>
              <a:gd name="connsiteX5" fmla="*/ 219074 w 257756"/>
              <a:gd name="connsiteY5" fmla="*/ 41673 h 269394"/>
              <a:gd name="connsiteX6" fmla="*/ 204787 w 257756"/>
              <a:gd name="connsiteY6" fmla="*/ 22623 h 269394"/>
              <a:gd name="connsiteX7" fmla="*/ 183356 w 257756"/>
              <a:gd name="connsiteY7" fmla="*/ 8335 h 269394"/>
              <a:gd name="connsiteX8" fmla="*/ 154781 w 257756"/>
              <a:gd name="connsiteY8" fmla="*/ 1191 h 269394"/>
              <a:gd name="connsiteX9" fmla="*/ 126206 w 257756"/>
              <a:gd name="connsiteY9" fmla="*/ 1191 h 269394"/>
              <a:gd name="connsiteX10" fmla="*/ 88106 w 257756"/>
              <a:gd name="connsiteY10" fmla="*/ 5954 h 269394"/>
              <a:gd name="connsiteX11" fmla="*/ 61912 w 257756"/>
              <a:gd name="connsiteY11" fmla="*/ 20241 h 269394"/>
              <a:gd name="connsiteX12" fmla="*/ 38099 w 257756"/>
              <a:gd name="connsiteY12" fmla="*/ 41673 h 269394"/>
              <a:gd name="connsiteX13" fmla="*/ 16668 w 257756"/>
              <a:gd name="connsiteY13" fmla="*/ 79773 h 269394"/>
              <a:gd name="connsiteX14" fmla="*/ 4762 w 257756"/>
              <a:gd name="connsiteY14" fmla="*/ 120254 h 269394"/>
              <a:gd name="connsiteX15" fmla="*/ 2381 w 257756"/>
              <a:gd name="connsiteY15" fmla="*/ 148829 h 269394"/>
              <a:gd name="connsiteX16" fmla="*/ 2381 w 257756"/>
              <a:gd name="connsiteY16" fmla="*/ 196454 h 269394"/>
              <a:gd name="connsiteX17" fmla="*/ 16668 w 257756"/>
              <a:gd name="connsiteY17" fmla="*/ 217885 h 269394"/>
              <a:gd name="connsiteX18" fmla="*/ 64293 w 257756"/>
              <a:gd name="connsiteY18" fmla="*/ 246460 h 269394"/>
              <a:gd name="connsiteX19" fmla="*/ 128378 w 257756"/>
              <a:gd name="connsiteY19" fmla="*/ 265946 h 269394"/>
              <a:gd name="connsiteX20" fmla="*/ 165534 w 257756"/>
              <a:gd name="connsiteY20" fmla="*/ 267146 h 269394"/>
              <a:gd name="connsiteX21" fmla="*/ 207816 w 257756"/>
              <a:gd name="connsiteY21" fmla="*/ 257064 h 269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57756" h="269394">
                <a:moveTo>
                  <a:pt x="207816" y="257064"/>
                </a:moveTo>
                <a:cubicBezTo>
                  <a:pt x="234016" y="240394"/>
                  <a:pt x="235959" y="234120"/>
                  <a:pt x="250031" y="222648"/>
                </a:cubicBezTo>
                <a:cubicBezTo>
                  <a:pt x="257756" y="202804"/>
                  <a:pt x="253161" y="182962"/>
                  <a:pt x="252412" y="163116"/>
                </a:cubicBezTo>
                <a:cubicBezTo>
                  <a:pt x="251618" y="142082"/>
                  <a:pt x="248046" y="112316"/>
                  <a:pt x="245268" y="96441"/>
                </a:cubicBezTo>
                <a:cubicBezTo>
                  <a:pt x="242490" y="80566"/>
                  <a:pt x="240109" y="76994"/>
                  <a:pt x="235743" y="67866"/>
                </a:cubicBezTo>
                <a:cubicBezTo>
                  <a:pt x="231377" y="58738"/>
                  <a:pt x="224233" y="49214"/>
                  <a:pt x="219074" y="41673"/>
                </a:cubicBezTo>
                <a:cubicBezTo>
                  <a:pt x="213915" y="34132"/>
                  <a:pt x="210740" y="28179"/>
                  <a:pt x="204787" y="22623"/>
                </a:cubicBezTo>
                <a:cubicBezTo>
                  <a:pt x="198834" y="17067"/>
                  <a:pt x="191690" y="11907"/>
                  <a:pt x="183356" y="8335"/>
                </a:cubicBezTo>
                <a:cubicBezTo>
                  <a:pt x="175022" y="4763"/>
                  <a:pt x="164306" y="2382"/>
                  <a:pt x="154781" y="1191"/>
                </a:cubicBezTo>
                <a:cubicBezTo>
                  <a:pt x="145256" y="0"/>
                  <a:pt x="137318" y="397"/>
                  <a:pt x="126206" y="1191"/>
                </a:cubicBezTo>
                <a:cubicBezTo>
                  <a:pt x="115094" y="1985"/>
                  <a:pt x="98822" y="2779"/>
                  <a:pt x="88106" y="5954"/>
                </a:cubicBezTo>
                <a:cubicBezTo>
                  <a:pt x="77390" y="9129"/>
                  <a:pt x="70247" y="14288"/>
                  <a:pt x="61912" y="20241"/>
                </a:cubicBezTo>
                <a:cubicBezTo>
                  <a:pt x="53578" y="26194"/>
                  <a:pt x="45640" y="31751"/>
                  <a:pt x="38099" y="41673"/>
                </a:cubicBezTo>
                <a:cubicBezTo>
                  <a:pt x="30558" y="51595"/>
                  <a:pt x="22224" y="66676"/>
                  <a:pt x="16668" y="79773"/>
                </a:cubicBezTo>
                <a:cubicBezTo>
                  <a:pt x="11112" y="92870"/>
                  <a:pt x="7143" y="108745"/>
                  <a:pt x="4762" y="120254"/>
                </a:cubicBezTo>
                <a:cubicBezTo>
                  <a:pt x="2381" y="131763"/>
                  <a:pt x="2778" y="136129"/>
                  <a:pt x="2381" y="148829"/>
                </a:cubicBezTo>
                <a:cubicBezTo>
                  <a:pt x="1984" y="161529"/>
                  <a:pt x="0" y="184945"/>
                  <a:pt x="2381" y="196454"/>
                </a:cubicBezTo>
                <a:cubicBezTo>
                  <a:pt x="4762" y="207963"/>
                  <a:pt x="6349" y="209551"/>
                  <a:pt x="16668" y="217885"/>
                </a:cubicBezTo>
                <a:cubicBezTo>
                  <a:pt x="26987" y="226219"/>
                  <a:pt x="45675" y="238450"/>
                  <a:pt x="64293" y="246460"/>
                </a:cubicBezTo>
                <a:cubicBezTo>
                  <a:pt x="82911" y="254470"/>
                  <a:pt x="111505" y="262498"/>
                  <a:pt x="128378" y="265946"/>
                </a:cubicBezTo>
                <a:cubicBezTo>
                  <a:pt x="145251" y="269394"/>
                  <a:pt x="152294" y="268626"/>
                  <a:pt x="165534" y="267146"/>
                </a:cubicBezTo>
                <a:cubicBezTo>
                  <a:pt x="178774" y="265666"/>
                  <a:pt x="193733" y="264480"/>
                  <a:pt x="207816" y="257064"/>
                </a:cubicBezTo>
                <a:close/>
              </a:path>
            </a:pathLst>
          </a:custGeom>
          <a:gradFill flip="none" rotWithShape="1">
            <a:gsLst>
              <a:gs pos="79000">
                <a:schemeClr val="accent1">
                  <a:lumMod val="75000"/>
                </a:schemeClr>
              </a:gs>
              <a:gs pos="21000">
                <a:schemeClr val="accent1">
                  <a:tint val="44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43" name="Ellipse 142"/>
          <p:cNvSpPr/>
          <p:nvPr/>
        </p:nvSpPr>
        <p:spPr>
          <a:xfrm>
            <a:off x="2716187" y="5479256"/>
            <a:ext cx="198487" cy="198487"/>
          </a:xfrm>
          <a:prstGeom prst="ellipse">
            <a:avLst/>
          </a:prstGeom>
          <a:gradFill flip="none" rotWithShape="1">
            <a:gsLst>
              <a:gs pos="46000">
                <a:schemeClr val="accent1">
                  <a:tint val="66000"/>
                  <a:satMod val="160000"/>
                </a:schemeClr>
              </a:gs>
              <a:gs pos="21000">
                <a:schemeClr val="accent1">
                  <a:tint val="44500"/>
                  <a:satMod val="160000"/>
                </a:schemeClr>
              </a:gs>
              <a:gs pos="86000">
                <a:schemeClr val="tx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56" name="Ellipse 155"/>
          <p:cNvSpPr/>
          <p:nvPr/>
        </p:nvSpPr>
        <p:spPr>
          <a:xfrm>
            <a:off x="1922538" y="5460207"/>
            <a:ext cx="198487" cy="198486"/>
          </a:xfrm>
          <a:prstGeom prst="ellipse">
            <a:avLst/>
          </a:prstGeom>
          <a:gradFill>
            <a:gsLst>
              <a:gs pos="71000">
                <a:schemeClr val="accent3">
                  <a:lumMod val="75000"/>
                </a:schemeClr>
              </a:gs>
              <a:gs pos="80000">
                <a:srgbClr val="425222">
                  <a:alpha val="0"/>
                </a:srgbClr>
              </a:gs>
              <a:gs pos="21000">
                <a:schemeClr val="accent1">
                  <a:tint val="44500"/>
                  <a:satMod val="160000"/>
                </a:schemeClr>
              </a:gs>
              <a:gs pos="21000">
                <a:schemeClr val="accent3">
                  <a:lumMod val="75000"/>
                  <a:alpha val="42000"/>
                </a:schemeClr>
              </a:gs>
              <a:gs pos="86000">
                <a:schemeClr val="tx2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>
            <a:outerShdw blurRad="50800" dist="50800" dir="5400000" algn="ctr" rotWithShape="0">
              <a:schemeClr val="accent3">
                <a:lumMod val="75000"/>
                <a:alpha val="1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cxnSp>
        <p:nvCxnSpPr>
          <p:cNvPr id="88" name="Gerade Verbindung mit Pfeil 87"/>
          <p:cNvCxnSpPr/>
          <p:nvPr/>
        </p:nvCxnSpPr>
        <p:spPr>
          <a:xfrm>
            <a:off x="564357" y="3329161"/>
            <a:ext cx="457200" cy="2207"/>
          </a:xfrm>
          <a:prstGeom prst="straightConnector1">
            <a:avLst/>
          </a:prstGeom>
          <a:ln w="38100">
            <a:solidFill>
              <a:schemeClr val="accent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/>
          <p:cNvSpPr txBox="1"/>
          <p:nvPr/>
        </p:nvSpPr>
        <p:spPr>
          <a:xfrm rot="21041764">
            <a:off x="325708" y="536290"/>
            <a:ext cx="311976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sz="2800" dirty="0" err="1" smtClean="0">
                <a:solidFill>
                  <a:srgbClr val="39471D"/>
                </a:solidFill>
                <a:latin typeface="Arial" charset="0"/>
                <a:cs typeface="+mn-cs"/>
              </a:rPr>
              <a:t>Scrum</a:t>
            </a:r>
            <a:r>
              <a:rPr lang="de-DE" sz="2800" dirty="0" smtClean="0">
                <a:solidFill>
                  <a:srgbClr val="39471D"/>
                </a:solidFill>
                <a:latin typeface="Arial" charset="0"/>
                <a:cs typeface="+mn-cs"/>
              </a:rPr>
              <a:t>: </a:t>
            </a:r>
            <a:r>
              <a:rPr lang="de-DE" sz="2800" dirty="0" err="1" smtClean="0">
                <a:solidFill>
                  <a:srgbClr val="39471D"/>
                </a:solidFill>
                <a:latin typeface="Arial" charset="0"/>
                <a:cs typeface="+mn-cs"/>
              </a:rPr>
              <a:t>Overview</a:t>
            </a:r>
            <a:endParaRPr lang="de-DE" sz="2800" dirty="0">
              <a:solidFill>
                <a:srgbClr val="39471D"/>
              </a:solidFill>
              <a:latin typeface="Arial" charset="0"/>
              <a:cs typeface="+mn-cs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4782557" y="1646852"/>
            <a:ext cx="19511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sz="1200" b="0" dirty="0" smtClean="0">
                <a:solidFill>
                  <a:prstClr val="black"/>
                </a:solidFill>
                <a:latin typeface="Arial" charset="0"/>
                <a:cs typeface="+mn-cs"/>
              </a:rPr>
              <a:t>Progress check in a </a:t>
            </a:r>
            <a:r>
              <a:rPr lang="de-DE" sz="1200" b="0" dirty="0" err="1">
                <a:solidFill>
                  <a:prstClr val="black"/>
                </a:solidFill>
                <a:latin typeface="Arial" charset="0"/>
                <a:cs typeface="+mn-cs"/>
              </a:rPr>
              <a:t>s</a:t>
            </a:r>
            <a:r>
              <a:rPr lang="de-DE" sz="1200" b="0" dirty="0" err="1" smtClean="0">
                <a:solidFill>
                  <a:prstClr val="black"/>
                </a:solidFill>
                <a:latin typeface="Arial" charset="0"/>
                <a:cs typeface="+mn-cs"/>
              </a:rPr>
              <a:t>print</a:t>
            </a:r>
            <a:endParaRPr lang="de-DE" sz="1200" b="0" dirty="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91" name="Textfeld 90"/>
          <p:cNvSpPr txBox="1"/>
          <p:nvPr/>
        </p:nvSpPr>
        <p:spPr>
          <a:xfrm>
            <a:off x="7132775" y="1604461"/>
            <a:ext cx="11737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sz="1200" b="0" dirty="0" err="1" smtClean="0">
                <a:solidFill>
                  <a:prstClr val="black"/>
                </a:solidFill>
                <a:latin typeface="Arial" charset="0"/>
                <a:cs typeface="+mn-cs"/>
              </a:rPr>
              <a:t>Visualising</a:t>
            </a:r>
            <a:r>
              <a:rPr lang="de-DE" sz="1200" b="0" dirty="0" smtClean="0">
                <a:solidFill>
                  <a:prstClr val="black"/>
                </a:solidFill>
                <a:latin typeface="Arial" charset="0"/>
                <a:cs typeface="+mn-cs"/>
              </a:rPr>
              <a:t> </a:t>
            </a:r>
            <a:br>
              <a:rPr lang="de-DE" sz="1200" b="0" dirty="0" smtClean="0">
                <a:solidFill>
                  <a:prstClr val="black"/>
                </a:solidFill>
                <a:latin typeface="Arial" charset="0"/>
                <a:cs typeface="+mn-cs"/>
              </a:rPr>
            </a:br>
            <a:r>
              <a:rPr lang="de-DE" sz="1200" b="0" dirty="0" smtClean="0">
                <a:solidFill>
                  <a:prstClr val="black"/>
                </a:solidFill>
                <a:latin typeface="Arial" charset="0"/>
                <a:cs typeface="+mn-cs"/>
              </a:rPr>
              <a:t>Sprint </a:t>
            </a:r>
            <a:r>
              <a:rPr lang="de-DE" sz="1200" b="0" dirty="0" err="1" smtClean="0">
                <a:solidFill>
                  <a:prstClr val="black"/>
                </a:solidFill>
                <a:latin typeface="Arial" charset="0"/>
                <a:cs typeface="+mn-cs"/>
              </a:rPr>
              <a:t>Backlog</a:t>
            </a:r>
            <a:endParaRPr lang="de-DE" sz="1200" b="0" dirty="0">
              <a:solidFill>
                <a:prstClr val="black"/>
              </a:solidFill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7161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hteck 13"/>
          <p:cNvSpPr/>
          <p:nvPr/>
        </p:nvSpPr>
        <p:spPr>
          <a:xfrm>
            <a:off x="1026372" y="4781153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cxnSp>
        <p:nvCxnSpPr>
          <p:cNvPr id="16" name="Gerade Verbindung mit Pfeil 15"/>
          <p:cNvCxnSpPr/>
          <p:nvPr/>
        </p:nvCxnSpPr>
        <p:spPr>
          <a:xfrm>
            <a:off x="1762125" y="4848226"/>
            <a:ext cx="1019175" cy="0"/>
          </a:xfrm>
          <a:prstGeom prst="straightConnector1">
            <a:avLst/>
          </a:prstGeom>
          <a:ln w="38100">
            <a:solidFill>
              <a:schemeClr val="accent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 16"/>
          <p:cNvSpPr/>
          <p:nvPr/>
        </p:nvSpPr>
        <p:spPr>
          <a:xfrm>
            <a:off x="2844157" y="4776961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cxnSp>
        <p:nvCxnSpPr>
          <p:cNvPr id="18" name="Gerade Verbindung mit Pfeil 17"/>
          <p:cNvCxnSpPr/>
          <p:nvPr/>
        </p:nvCxnSpPr>
        <p:spPr>
          <a:xfrm flipV="1">
            <a:off x="3590925" y="4844778"/>
            <a:ext cx="3714750" cy="3448"/>
          </a:xfrm>
          <a:prstGeom prst="straightConnector1">
            <a:avLst/>
          </a:prstGeom>
          <a:ln w="38100">
            <a:solidFill>
              <a:schemeClr val="accent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3" name="Gruppieren 112"/>
          <p:cNvGrpSpPr>
            <a:grpSpLocks noChangeAspect="1"/>
          </p:cNvGrpSpPr>
          <p:nvPr/>
        </p:nvGrpSpPr>
        <p:grpSpPr>
          <a:xfrm>
            <a:off x="7340500" y="3850176"/>
            <a:ext cx="1022449" cy="1146955"/>
            <a:chOff x="7026176" y="3850176"/>
            <a:chExt cx="900000" cy="1146955"/>
          </a:xfrm>
        </p:grpSpPr>
        <p:sp>
          <p:nvSpPr>
            <p:cNvPr id="61" name="Rechteck 60"/>
            <p:cNvSpPr/>
            <p:nvPr/>
          </p:nvSpPr>
          <p:spPr>
            <a:xfrm>
              <a:off x="7314413" y="3850183"/>
              <a:ext cx="465928" cy="72892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62" name="Rechteck 61"/>
            <p:cNvSpPr/>
            <p:nvPr/>
          </p:nvSpPr>
          <p:spPr>
            <a:xfrm>
              <a:off x="7283351" y="3906254"/>
              <a:ext cx="465928" cy="72892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63" name="Freihandform 62"/>
            <p:cNvSpPr/>
            <p:nvPr/>
          </p:nvSpPr>
          <p:spPr>
            <a:xfrm>
              <a:off x="7283351" y="3850176"/>
              <a:ext cx="496990" cy="57481"/>
            </a:xfrm>
            <a:custGeom>
              <a:avLst/>
              <a:gdLst>
                <a:gd name="connsiteX0" fmla="*/ 85725 w 1157287"/>
                <a:gd name="connsiteY0" fmla="*/ 0 h 95250"/>
                <a:gd name="connsiteX1" fmla="*/ 0 w 1157287"/>
                <a:gd name="connsiteY1" fmla="*/ 95250 h 95250"/>
                <a:gd name="connsiteX2" fmla="*/ 1090612 w 1157287"/>
                <a:gd name="connsiteY2" fmla="*/ 85725 h 95250"/>
                <a:gd name="connsiteX3" fmla="*/ 1157287 w 1157287"/>
                <a:gd name="connsiteY3" fmla="*/ 19050 h 95250"/>
                <a:gd name="connsiteX4" fmla="*/ 85725 w 1157287"/>
                <a:gd name="connsiteY4" fmla="*/ 0 h 95250"/>
                <a:gd name="connsiteX0" fmla="*/ 72008 w 1157287"/>
                <a:gd name="connsiteY0" fmla="*/ 0 h 95250"/>
                <a:gd name="connsiteX1" fmla="*/ 0 w 1157287"/>
                <a:gd name="connsiteY1" fmla="*/ 95250 h 95250"/>
                <a:gd name="connsiteX2" fmla="*/ 1090612 w 1157287"/>
                <a:gd name="connsiteY2" fmla="*/ 85725 h 95250"/>
                <a:gd name="connsiteX3" fmla="*/ 1157287 w 1157287"/>
                <a:gd name="connsiteY3" fmla="*/ 19050 h 95250"/>
                <a:gd name="connsiteX4" fmla="*/ 72008 w 1157287"/>
                <a:gd name="connsiteY4" fmla="*/ 0 h 95250"/>
                <a:gd name="connsiteX0" fmla="*/ 72008 w 1152128"/>
                <a:gd name="connsiteY0" fmla="*/ 0 h 95250"/>
                <a:gd name="connsiteX1" fmla="*/ 0 w 1152128"/>
                <a:gd name="connsiteY1" fmla="*/ 95250 h 95250"/>
                <a:gd name="connsiteX2" fmla="*/ 1090612 w 1152128"/>
                <a:gd name="connsiteY2" fmla="*/ 85725 h 95250"/>
                <a:gd name="connsiteX3" fmla="*/ 1152128 w 1152128"/>
                <a:gd name="connsiteY3" fmla="*/ 0 h 95250"/>
                <a:gd name="connsiteX4" fmla="*/ 72008 w 1152128"/>
                <a:gd name="connsiteY4" fmla="*/ 0 h 95250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88231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28575 h 100012"/>
                <a:gd name="connsiteX4" fmla="*/ 72008 w 1152128"/>
                <a:gd name="connsiteY4" fmla="*/ 0 h 100012"/>
                <a:gd name="connsiteX0" fmla="*/ 62483 w 1152128"/>
                <a:gd name="connsiteY0" fmla="*/ 0 h 73818"/>
                <a:gd name="connsiteX1" fmla="*/ 0 w 1152128"/>
                <a:gd name="connsiteY1" fmla="*/ 69056 h 73818"/>
                <a:gd name="connsiteX2" fmla="*/ 1078706 w 1152128"/>
                <a:gd name="connsiteY2" fmla="*/ 73818 h 73818"/>
                <a:gd name="connsiteX3" fmla="*/ 1152128 w 1152128"/>
                <a:gd name="connsiteY3" fmla="*/ 2381 h 73818"/>
                <a:gd name="connsiteX4" fmla="*/ 62483 w 1152128"/>
                <a:gd name="connsiteY4" fmla="*/ 0 h 7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2128" h="73818">
                  <a:moveTo>
                    <a:pt x="62483" y="0"/>
                  </a:moveTo>
                  <a:lnTo>
                    <a:pt x="0" y="69056"/>
                  </a:lnTo>
                  <a:lnTo>
                    <a:pt x="1078706" y="73818"/>
                  </a:lnTo>
                  <a:lnTo>
                    <a:pt x="1152128" y="2381"/>
                  </a:lnTo>
                  <a:lnTo>
                    <a:pt x="62483" y="0"/>
                  </a:lnTo>
                  <a:close/>
                </a:path>
              </a:pathLst>
            </a:cu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64" name="Freihandform 63"/>
            <p:cNvSpPr/>
            <p:nvPr/>
          </p:nvSpPr>
          <p:spPr>
            <a:xfrm>
              <a:off x="7747343" y="3852269"/>
              <a:ext cx="34582" cy="780633"/>
            </a:xfrm>
            <a:custGeom>
              <a:avLst/>
              <a:gdLst>
                <a:gd name="connsiteX0" fmla="*/ 76200 w 76200"/>
                <a:gd name="connsiteY0" fmla="*/ 0 h 995363"/>
                <a:gd name="connsiteX1" fmla="*/ 4762 w 76200"/>
                <a:gd name="connsiteY1" fmla="*/ 95250 h 995363"/>
                <a:gd name="connsiteX2" fmla="*/ 0 w 76200"/>
                <a:gd name="connsiteY2" fmla="*/ 995363 h 995363"/>
                <a:gd name="connsiteX3" fmla="*/ 76200 w 76200"/>
                <a:gd name="connsiteY3" fmla="*/ 919163 h 995363"/>
                <a:gd name="connsiteX4" fmla="*/ 76200 w 76200"/>
                <a:gd name="connsiteY4" fmla="*/ 0 h 995363"/>
                <a:gd name="connsiteX0" fmla="*/ 80168 w 80168"/>
                <a:gd name="connsiteY0" fmla="*/ 0 h 995363"/>
                <a:gd name="connsiteX1" fmla="*/ 1587 w 80168"/>
                <a:gd name="connsiteY1" fmla="*/ 76200 h 995363"/>
                <a:gd name="connsiteX2" fmla="*/ 3968 w 80168"/>
                <a:gd name="connsiteY2" fmla="*/ 995363 h 995363"/>
                <a:gd name="connsiteX3" fmla="*/ 80168 w 80168"/>
                <a:gd name="connsiteY3" fmla="*/ 919163 h 995363"/>
                <a:gd name="connsiteX4" fmla="*/ 80168 w 80168"/>
                <a:gd name="connsiteY4" fmla="*/ 0 h 995363"/>
                <a:gd name="connsiteX0" fmla="*/ 80168 w 80168"/>
                <a:gd name="connsiteY0" fmla="*/ 0 h 1002507"/>
                <a:gd name="connsiteX1" fmla="*/ 1587 w 80168"/>
                <a:gd name="connsiteY1" fmla="*/ 76200 h 1002507"/>
                <a:gd name="connsiteX2" fmla="*/ 3968 w 80168"/>
                <a:gd name="connsiteY2" fmla="*/ 1002507 h 1002507"/>
                <a:gd name="connsiteX3" fmla="*/ 80168 w 80168"/>
                <a:gd name="connsiteY3" fmla="*/ 919163 h 1002507"/>
                <a:gd name="connsiteX4" fmla="*/ 80168 w 80168"/>
                <a:gd name="connsiteY4" fmla="*/ 0 h 1002507"/>
                <a:gd name="connsiteX0" fmla="*/ 80168 w 80168"/>
                <a:gd name="connsiteY0" fmla="*/ 0 h 1002507"/>
                <a:gd name="connsiteX1" fmla="*/ 1587 w 80168"/>
                <a:gd name="connsiteY1" fmla="*/ 76200 h 1002507"/>
                <a:gd name="connsiteX2" fmla="*/ 3968 w 80168"/>
                <a:gd name="connsiteY2" fmla="*/ 1002507 h 1002507"/>
                <a:gd name="connsiteX3" fmla="*/ 77786 w 80168"/>
                <a:gd name="connsiteY3" fmla="*/ 928688 h 1002507"/>
                <a:gd name="connsiteX4" fmla="*/ 80168 w 80168"/>
                <a:gd name="connsiteY4" fmla="*/ 0 h 1002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168" h="1002507">
                  <a:moveTo>
                    <a:pt x="80168" y="0"/>
                  </a:moveTo>
                  <a:lnTo>
                    <a:pt x="1587" y="76200"/>
                  </a:lnTo>
                  <a:cubicBezTo>
                    <a:pt x="0" y="376238"/>
                    <a:pt x="5555" y="702469"/>
                    <a:pt x="3968" y="1002507"/>
                  </a:cubicBezTo>
                  <a:lnTo>
                    <a:pt x="77786" y="928688"/>
                  </a:lnTo>
                  <a:lnTo>
                    <a:pt x="80168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56" name="Rechteck 55"/>
            <p:cNvSpPr/>
            <p:nvPr/>
          </p:nvSpPr>
          <p:spPr>
            <a:xfrm>
              <a:off x="7195305" y="4031158"/>
              <a:ext cx="679560" cy="72892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57" name="Rechteck 56"/>
            <p:cNvSpPr/>
            <p:nvPr/>
          </p:nvSpPr>
          <p:spPr>
            <a:xfrm>
              <a:off x="7150001" y="4087229"/>
              <a:ext cx="679560" cy="72892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58" name="Freihandform 57"/>
            <p:cNvSpPr/>
            <p:nvPr/>
          </p:nvSpPr>
          <p:spPr>
            <a:xfrm>
              <a:off x="7150002" y="4031151"/>
              <a:ext cx="724864" cy="57481"/>
            </a:xfrm>
            <a:custGeom>
              <a:avLst/>
              <a:gdLst>
                <a:gd name="connsiteX0" fmla="*/ 85725 w 1157287"/>
                <a:gd name="connsiteY0" fmla="*/ 0 h 95250"/>
                <a:gd name="connsiteX1" fmla="*/ 0 w 1157287"/>
                <a:gd name="connsiteY1" fmla="*/ 95250 h 95250"/>
                <a:gd name="connsiteX2" fmla="*/ 1090612 w 1157287"/>
                <a:gd name="connsiteY2" fmla="*/ 85725 h 95250"/>
                <a:gd name="connsiteX3" fmla="*/ 1157287 w 1157287"/>
                <a:gd name="connsiteY3" fmla="*/ 19050 h 95250"/>
                <a:gd name="connsiteX4" fmla="*/ 85725 w 1157287"/>
                <a:gd name="connsiteY4" fmla="*/ 0 h 95250"/>
                <a:gd name="connsiteX0" fmla="*/ 72008 w 1157287"/>
                <a:gd name="connsiteY0" fmla="*/ 0 h 95250"/>
                <a:gd name="connsiteX1" fmla="*/ 0 w 1157287"/>
                <a:gd name="connsiteY1" fmla="*/ 95250 h 95250"/>
                <a:gd name="connsiteX2" fmla="*/ 1090612 w 1157287"/>
                <a:gd name="connsiteY2" fmla="*/ 85725 h 95250"/>
                <a:gd name="connsiteX3" fmla="*/ 1157287 w 1157287"/>
                <a:gd name="connsiteY3" fmla="*/ 19050 h 95250"/>
                <a:gd name="connsiteX4" fmla="*/ 72008 w 1157287"/>
                <a:gd name="connsiteY4" fmla="*/ 0 h 95250"/>
                <a:gd name="connsiteX0" fmla="*/ 72008 w 1152128"/>
                <a:gd name="connsiteY0" fmla="*/ 0 h 95250"/>
                <a:gd name="connsiteX1" fmla="*/ 0 w 1152128"/>
                <a:gd name="connsiteY1" fmla="*/ 95250 h 95250"/>
                <a:gd name="connsiteX2" fmla="*/ 1090612 w 1152128"/>
                <a:gd name="connsiteY2" fmla="*/ 85725 h 95250"/>
                <a:gd name="connsiteX3" fmla="*/ 1152128 w 1152128"/>
                <a:gd name="connsiteY3" fmla="*/ 0 h 95250"/>
                <a:gd name="connsiteX4" fmla="*/ 72008 w 1152128"/>
                <a:gd name="connsiteY4" fmla="*/ 0 h 95250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88231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28575 h 100012"/>
                <a:gd name="connsiteX4" fmla="*/ 72008 w 1152128"/>
                <a:gd name="connsiteY4" fmla="*/ 0 h 100012"/>
                <a:gd name="connsiteX0" fmla="*/ 62483 w 1152128"/>
                <a:gd name="connsiteY0" fmla="*/ 0 h 73818"/>
                <a:gd name="connsiteX1" fmla="*/ 0 w 1152128"/>
                <a:gd name="connsiteY1" fmla="*/ 69056 h 73818"/>
                <a:gd name="connsiteX2" fmla="*/ 1078706 w 1152128"/>
                <a:gd name="connsiteY2" fmla="*/ 73818 h 73818"/>
                <a:gd name="connsiteX3" fmla="*/ 1152128 w 1152128"/>
                <a:gd name="connsiteY3" fmla="*/ 2381 h 73818"/>
                <a:gd name="connsiteX4" fmla="*/ 62483 w 1152128"/>
                <a:gd name="connsiteY4" fmla="*/ 0 h 7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2128" h="73818">
                  <a:moveTo>
                    <a:pt x="62483" y="0"/>
                  </a:moveTo>
                  <a:lnTo>
                    <a:pt x="0" y="69056"/>
                  </a:lnTo>
                  <a:lnTo>
                    <a:pt x="1078706" y="73818"/>
                  </a:lnTo>
                  <a:lnTo>
                    <a:pt x="1152128" y="2381"/>
                  </a:lnTo>
                  <a:lnTo>
                    <a:pt x="62483" y="0"/>
                  </a:lnTo>
                  <a:close/>
                </a:path>
              </a:pathLst>
            </a:cu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59" name="Freihandform 58"/>
            <p:cNvSpPr/>
            <p:nvPr/>
          </p:nvSpPr>
          <p:spPr>
            <a:xfrm>
              <a:off x="7826737" y="4033244"/>
              <a:ext cx="50438" cy="780633"/>
            </a:xfrm>
            <a:custGeom>
              <a:avLst/>
              <a:gdLst>
                <a:gd name="connsiteX0" fmla="*/ 76200 w 76200"/>
                <a:gd name="connsiteY0" fmla="*/ 0 h 995363"/>
                <a:gd name="connsiteX1" fmla="*/ 4762 w 76200"/>
                <a:gd name="connsiteY1" fmla="*/ 95250 h 995363"/>
                <a:gd name="connsiteX2" fmla="*/ 0 w 76200"/>
                <a:gd name="connsiteY2" fmla="*/ 995363 h 995363"/>
                <a:gd name="connsiteX3" fmla="*/ 76200 w 76200"/>
                <a:gd name="connsiteY3" fmla="*/ 919163 h 995363"/>
                <a:gd name="connsiteX4" fmla="*/ 76200 w 76200"/>
                <a:gd name="connsiteY4" fmla="*/ 0 h 995363"/>
                <a:gd name="connsiteX0" fmla="*/ 80168 w 80168"/>
                <a:gd name="connsiteY0" fmla="*/ 0 h 995363"/>
                <a:gd name="connsiteX1" fmla="*/ 1587 w 80168"/>
                <a:gd name="connsiteY1" fmla="*/ 76200 h 995363"/>
                <a:gd name="connsiteX2" fmla="*/ 3968 w 80168"/>
                <a:gd name="connsiteY2" fmla="*/ 995363 h 995363"/>
                <a:gd name="connsiteX3" fmla="*/ 80168 w 80168"/>
                <a:gd name="connsiteY3" fmla="*/ 919163 h 995363"/>
                <a:gd name="connsiteX4" fmla="*/ 80168 w 80168"/>
                <a:gd name="connsiteY4" fmla="*/ 0 h 995363"/>
                <a:gd name="connsiteX0" fmla="*/ 80168 w 80168"/>
                <a:gd name="connsiteY0" fmla="*/ 0 h 1002507"/>
                <a:gd name="connsiteX1" fmla="*/ 1587 w 80168"/>
                <a:gd name="connsiteY1" fmla="*/ 76200 h 1002507"/>
                <a:gd name="connsiteX2" fmla="*/ 3968 w 80168"/>
                <a:gd name="connsiteY2" fmla="*/ 1002507 h 1002507"/>
                <a:gd name="connsiteX3" fmla="*/ 80168 w 80168"/>
                <a:gd name="connsiteY3" fmla="*/ 919163 h 1002507"/>
                <a:gd name="connsiteX4" fmla="*/ 80168 w 80168"/>
                <a:gd name="connsiteY4" fmla="*/ 0 h 1002507"/>
                <a:gd name="connsiteX0" fmla="*/ 80168 w 80168"/>
                <a:gd name="connsiteY0" fmla="*/ 0 h 1002507"/>
                <a:gd name="connsiteX1" fmla="*/ 1587 w 80168"/>
                <a:gd name="connsiteY1" fmla="*/ 76200 h 1002507"/>
                <a:gd name="connsiteX2" fmla="*/ 3968 w 80168"/>
                <a:gd name="connsiteY2" fmla="*/ 1002507 h 1002507"/>
                <a:gd name="connsiteX3" fmla="*/ 77786 w 80168"/>
                <a:gd name="connsiteY3" fmla="*/ 928688 h 1002507"/>
                <a:gd name="connsiteX4" fmla="*/ 80168 w 80168"/>
                <a:gd name="connsiteY4" fmla="*/ 0 h 1002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168" h="1002507">
                  <a:moveTo>
                    <a:pt x="80168" y="0"/>
                  </a:moveTo>
                  <a:lnTo>
                    <a:pt x="1587" y="76200"/>
                  </a:lnTo>
                  <a:cubicBezTo>
                    <a:pt x="0" y="376238"/>
                    <a:pt x="5555" y="702469"/>
                    <a:pt x="3968" y="1002507"/>
                  </a:cubicBezTo>
                  <a:lnTo>
                    <a:pt x="77786" y="928688"/>
                  </a:lnTo>
                  <a:lnTo>
                    <a:pt x="80168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26" name="Rechteck 25"/>
            <p:cNvSpPr/>
            <p:nvPr/>
          </p:nvSpPr>
          <p:spPr>
            <a:xfrm>
              <a:off x="7082247" y="4212133"/>
              <a:ext cx="841069" cy="72892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25" name="Rechteck 24"/>
            <p:cNvSpPr/>
            <p:nvPr/>
          </p:nvSpPr>
          <p:spPr>
            <a:xfrm>
              <a:off x="7026176" y="4268204"/>
              <a:ext cx="841069" cy="728927"/>
            </a:xfrm>
            <a:prstGeom prst="rect">
              <a:avLst/>
            </a:pr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 smtClean="0">
                  <a:solidFill>
                    <a:srgbClr val="1F497D">
                      <a:lumMod val="50000"/>
                    </a:srgbClr>
                  </a:solidFill>
                </a:rPr>
                <a:t>Working</a:t>
              </a:r>
            </a:p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r>
                <a:rPr lang="de-DE" sz="1400" dirty="0" smtClean="0">
                  <a:solidFill>
                    <a:srgbClr val="1F497D">
                      <a:lumMod val="50000"/>
                    </a:srgbClr>
                  </a:solidFill>
                </a:rPr>
                <a:t>Software</a:t>
              </a:r>
              <a:endParaRPr lang="de-DE" sz="1400" dirty="0">
                <a:solidFill>
                  <a:srgbClr val="1F497D">
                    <a:lumMod val="50000"/>
                  </a:srgbClr>
                </a:solidFill>
              </a:endParaRPr>
            </a:p>
          </p:txBody>
        </p:sp>
        <p:sp>
          <p:nvSpPr>
            <p:cNvPr id="27" name="Freihandform 26"/>
            <p:cNvSpPr/>
            <p:nvPr/>
          </p:nvSpPr>
          <p:spPr>
            <a:xfrm>
              <a:off x="7026177" y="4212126"/>
              <a:ext cx="897141" cy="57481"/>
            </a:xfrm>
            <a:custGeom>
              <a:avLst/>
              <a:gdLst>
                <a:gd name="connsiteX0" fmla="*/ 85725 w 1157287"/>
                <a:gd name="connsiteY0" fmla="*/ 0 h 95250"/>
                <a:gd name="connsiteX1" fmla="*/ 0 w 1157287"/>
                <a:gd name="connsiteY1" fmla="*/ 95250 h 95250"/>
                <a:gd name="connsiteX2" fmla="*/ 1090612 w 1157287"/>
                <a:gd name="connsiteY2" fmla="*/ 85725 h 95250"/>
                <a:gd name="connsiteX3" fmla="*/ 1157287 w 1157287"/>
                <a:gd name="connsiteY3" fmla="*/ 19050 h 95250"/>
                <a:gd name="connsiteX4" fmla="*/ 85725 w 1157287"/>
                <a:gd name="connsiteY4" fmla="*/ 0 h 95250"/>
                <a:gd name="connsiteX0" fmla="*/ 72008 w 1157287"/>
                <a:gd name="connsiteY0" fmla="*/ 0 h 95250"/>
                <a:gd name="connsiteX1" fmla="*/ 0 w 1157287"/>
                <a:gd name="connsiteY1" fmla="*/ 95250 h 95250"/>
                <a:gd name="connsiteX2" fmla="*/ 1090612 w 1157287"/>
                <a:gd name="connsiteY2" fmla="*/ 85725 h 95250"/>
                <a:gd name="connsiteX3" fmla="*/ 1157287 w 1157287"/>
                <a:gd name="connsiteY3" fmla="*/ 19050 h 95250"/>
                <a:gd name="connsiteX4" fmla="*/ 72008 w 1157287"/>
                <a:gd name="connsiteY4" fmla="*/ 0 h 95250"/>
                <a:gd name="connsiteX0" fmla="*/ 72008 w 1152128"/>
                <a:gd name="connsiteY0" fmla="*/ 0 h 95250"/>
                <a:gd name="connsiteX1" fmla="*/ 0 w 1152128"/>
                <a:gd name="connsiteY1" fmla="*/ 95250 h 95250"/>
                <a:gd name="connsiteX2" fmla="*/ 1090612 w 1152128"/>
                <a:gd name="connsiteY2" fmla="*/ 85725 h 95250"/>
                <a:gd name="connsiteX3" fmla="*/ 1152128 w 1152128"/>
                <a:gd name="connsiteY3" fmla="*/ 0 h 95250"/>
                <a:gd name="connsiteX4" fmla="*/ 72008 w 1152128"/>
                <a:gd name="connsiteY4" fmla="*/ 0 h 95250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88231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0 h 100012"/>
                <a:gd name="connsiteX4" fmla="*/ 72008 w 1152128"/>
                <a:gd name="connsiteY4" fmla="*/ 0 h 100012"/>
                <a:gd name="connsiteX0" fmla="*/ 72008 w 1152128"/>
                <a:gd name="connsiteY0" fmla="*/ 0 h 100012"/>
                <a:gd name="connsiteX1" fmla="*/ 0 w 1152128"/>
                <a:gd name="connsiteY1" fmla="*/ 95250 h 100012"/>
                <a:gd name="connsiteX2" fmla="*/ 1078706 w 1152128"/>
                <a:gd name="connsiteY2" fmla="*/ 100012 h 100012"/>
                <a:gd name="connsiteX3" fmla="*/ 1152128 w 1152128"/>
                <a:gd name="connsiteY3" fmla="*/ 28575 h 100012"/>
                <a:gd name="connsiteX4" fmla="*/ 72008 w 1152128"/>
                <a:gd name="connsiteY4" fmla="*/ 0 h 100012"/>
                <a:gd name="connsiteX0" fmla="*/ 62483 w 1152128"/>
                <a:gd name="connsiteY0" fmla="*/ 0 h 73818"/>
                <a:gd name="connsiteX1" fmla="*/ 0 w 1152128"/>
                <a:gd name="connsiteY1" fmla="*/ 69056 h 73818"/>
                <a:gd name="connsiteX2" fmla="*/ 1078706 w 1152128"/>
                <a:gd name="connsiteY2" fmla="*/ 73818 h 73818"/>
                <a:gd name="connsiteX3" fmla="*/ 1152128 w 1152128"/>
                <a:gd name="connsiteY3" fmla="*/ 2381 h 73818"/>
                <a:gd name="connsiteX4" fmla="*/ 62483 w 1152128"/>
                <a:gd name="connsiteY4" fmla="*/ 0 h 73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152128" h="73818">
                  <a:moveTo>
                    <a:pt x="62483" y="0"/>
                  </a:moveTo>
                  <a:lnTo>
                    <a:pt x="0" y="69056"/>
                  </a:lnTo>
                  <a:lnTo>
                    <a:pt x="1078706" y="73818"/>
                  </a:lnTo>
                  <a:lnTo>
                    <a:pt x="1152128" y="2381"/>
                  </a:lnTo>
                  <a:lnTo>
                    <a:pt x="62483" y="0"/>
                  </a:lnTo>
                  <a:close/>
                </a:path>
              </a:pathLst>
            </a:custGeom>
            <a:solidFill>
              <a:schemeClr val="bg1"/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sp>
          <p:nvSpPr>
            <p:cNvPr id="28" name="Freihandform 27"/>
            <p:cNvSpPr/>
            <p:nvPr/>
          </p:nvSpPr>
          <p:spPr>
            <a:xfrm>
              <a:off x="7863751" y="4214219"/>
              <a:ext cx="62425" cy="780633"/>
            </a:xfrm>
            <a:custGeom>
              <a:avLst/>
              <a:gdLst>
                <a:gd name="connsiteX0" fmla="*/ 76200 w 76200"/>
                <a:gd name="connsiteY0" fmla="*/ 0 h 995363"/>
                <a:gd name="connsiteX1" fmla="*/ 4762 w 76200"/>
                <a:gd name="connsiteY1" fmla="*/ 95250 h 995363"/>
                <a:gd name="connsiteX2" fmla="*/ 0 w 76200"/>
                <a:gd name="connsiteY2" fmla="*/ 995363 h 995363"/>
                <a:gd name="connsiteX3" fmla="*/ 76200 w 76200"/>
                <a:gd name="connsiteY3" fmla="*/ 919163 h 995363"/>
                <a:gd name="connsiteX4" fmla="*/ 76200 w 76200"/>
                <a:gd name="connsiteY4" fmla="*/ 0 h 995363"/>
                <a:gd name="connsiteX0" fmla="*/ 80168 w 80168"/>
                <a:gd name="connsiteY0" fmla="*/ 0 h 995363"/>
                <a:gd name="connsiteX1" fmla="*/ 1587 w 80168"/>
                <a:gd name="connsiteY1" fmla="*/ 76200 h 995363"/>
                <a:gd name="connsiteX2" fmla="*/ 3968 w 80168"/>
                <a:gd name="connsiteY2" fmla="*/ 995363 h 995363"/>
                <a:gd name="connsiteX3" fmla="*/ 80168 w 80168"/>
                <a:gd name="connsiteY3" fmla="*/ 919163 h 995363"/>
                <a:gd name="connsiteX4" fmla="*/ 80168 w 80168"/>
                <a:gd name="connsiteY4" fmla="*/ 0 h 995363"/>
                <a:gd name="connsiteX0" fmla="*/ 80168 w 80168"/>
                <a:gd name="connsiteY0" fmla="*/ 0 h 1002507"/>
                <a:gd name="connsiteX1" fmla="*/ 1587 w 80168"/>
                <a:gd name="connsiteY1" fmla="*/ 76200 h 1002507"/>
                <a:gd name="connsiteX2" fmla="*/ 3968 w 80168"/>
                <a:gd name="connsiteY2" fmla="*/ 1002507 h 1002507"/>
                <a:gd name="connsiteX3" fmla="*/ 80168 w 80168"/>
                <a:gd name="connsiteY3" fmla="*/ 919163 h 1002507"/>
                <a:gd name="connsiteX4" fmla="*/ 80168 w 80168"/>
                <a:gd name="connsiteY4" fmla="*/ 0 h 1002507"/>
                <a:gd name="connsiteX0" fmla="*/ 80168 w 80168"/>
                <a:gd name="connsiteY0" fmla="*/ 0 h 1002507"/>
                <a:gd name="connsiteX1" fmla="*/ 1587 w 80168"/>
                <a:gd name="connsiteY1" fmla="*/ 76200 h 1002507"/>
                <a:gd name="connsiteX2" fmla="*/ 3968 w 80168"/>
                <a:gd name="connsiteY2" fmla="*/ 1002507 h 1002507"/>
                <a:gd name="connsiteX3" fmla="*/ 77786 w 80168"/>
                <a:gd name="connsiteY3" fmla="*/ 928688 h 1002507"/>
                <a:gd name="connsiteX4" fmla="*/ 80168 w 80168"/>
                <a:gd name="connsiteY4" fmla="*/ 0 h 1002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0168" h="1002507">
                  <a:moveTo>
                    <a:pt x="80168" y="0"/>
                  </a:moveTo>
                  <a:lnTo>
                    <a:pt x="1587" y="76200"/>
                  </a:lnTo>
                  <a:cubicBezTo>
                    <a:pt x="0" y="376238"/>
                    <a:pt x="5555" y="702469"/>
                    <a:pt x="3968" y="1002507"/>
                  </a:cubicBezTo>
                  <a:lnTo>
                    <a:pt x="77786" y="928688"/>
                  </a:lnTo>
                  <a:lnTo>
                    <a:pt x="80168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6350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</p:grpSp>
      <p:sp>
        <p:nvSpPr>
          <p:cNvPr id="30" name="Rechteck 29"/>
          <p:cNvSpPr/>
          <p:nvPr/>
        </p:nvSpPr>
        <p:spPr>
          <a:xfrm>
            <a:off x="6924675" y="785805"/>
            <a:ext cx="438150" cy="86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900" b="0" dirty="0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31" name="Rechteck 30"/>
          <p:cNvSpPr/>
          <p:nvPr/>
        </p:nvSpPr>
        <p:spPr>
          <a:xfrm>
            <a:off x="6970989" y="1064580"/>
            <a:ext cx="339452" cy="25223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32" name="Rechteck 31"/>
          <p:cNvSpPr/>
          <p:nvPr/>
        </p:nvSpPr>
        <p:spPr>
          <a:xfrm>
            <a:off x="6970987" y="1345567"/>
            <a:ext cx="339452" cy="25223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35" name="Ellipse 34"/>
          <p:cNvSpPr/>
          <p:nvPr/>
        </p:nvSpPr>
        <p:spPr>
          <a:xfrm>
            <a:off x="5591175" y="4676775"/>
            <a:ext cx="66675" cy="66675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36" name="Ellipse 35"/>
          <p:cNvSpPr>
            <a:spLocks noChangeAspect="1"/>
          </p:cNvSpPr>
          <p:nvPr/>
        </p:nvSpPr>
        <p:spPr>
          <a:xfrm>
            <a:off x="5705474" y="4505324"/>
            <a:ext cx="108000" cy="108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37" name="Ellipse 36"/>
          <p:cNvSpPr>
            <a:spLocks noChangeAspect="1"/>
          </p:cNvSpPr>
          <p:nvPr/>
        </p:nvSpPr>
        <p:spPr>
          <a:xfrm>
            <a:off x="5800723" y="4333873"/>
            <a:ext cx="144000" cy="144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38" name="Ellipse 37"/>
          <p:cNvSpPr>
            <a:spLocks noChangeAspect="1"/>
          </p:cNvSpPr>
          <p:nvPr/>
        </p:nvSpPr>
        <p:spPr>
          <a:xfrm>
            <a:off x="5867397" y="4105272"/>
            <a:ext cx="180000" cy="180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44" name="Ellipse 43"/>
          <p:cNvSpPr>
            <a:spLocks noChangeAspect="1"/>
          </p:cNvSpPr>
          <p:nvPr/>
        </p:nvSpPr>
        <p:spPr>
          <a:xfrm>
            <a:off x="5876922" y="3829047"/>
            <a:ext cx="216000" cy="216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45" name="Ellipse 44"/>
          <p:cNvSpPr>
            <a:spLocks noChangeAspect="1"/>
          </p:cNvSpPr>
          <p:nvPr/>
        </p:nvSpPr>
        <p:spPr>
          <a:xfrm>
            <a:off x="5829297" y="3524247"/>
            <a:ext cx="234000" cy="234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46" name="Ellipse 45"/>
          <p:cNvSpPr>
            <a:spLocks noChangeAspect="1"/>
          </p:cNvSpPr>
          <p:nvPr/>
        </p:nvSpPr>
        <p:spPr>
          <a:xfrm>
            <a:off x="5686422" y="3238497"/>
            <a:ext cx="252000" cy="25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47" name="Ellipse 46"/>
          <p:cNvSpPr>
            <a:spLocks noChangeAspect="1"/>
          </p:cNvSpPr>
          <p:nvPr/>
        </p:nvSpPr>
        <p:spPr>
          <a:xfrm>
            <a:off x="5429247" y="3000372"/>
            <a:ext cx="288000" cy="288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48" name="Ellipse 47"/>
          <p:cNvSpPr>
            <a:spLocks noChangeAspect="1"/>
          </p:cNvSpPr>
          <p:nvPr/>
        </p:nvSpPr>
        <p:spPr>
          <a:xfrm>
            <a:off x="5086347" y="2800347"/>
            <a:ext cx="324000" cy="324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49" name="Ellipse 48"/>
          <p:cNvSpPr>
            <a:spLocks noChangeAspect="1"/>
          </p:cNvSpPr>
          <p:nvPr/>
        </p:nvSpPr>
        <p:spPr>
          <a:xfrm>
            <a:off x="4657722" y="2762247"/>
            <a:ext cx="360000" cy="360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50" name="Ellipse 49"/>
          <p:cNvSpPr>
            <a:spLocks noChangeAspect="1"/>
          </p:cNvSpPr>
          <p:nvPr/>
        </p:nvSpPr>
        <p:spPr>
          <a:xfrm>
            <a:off x="4229097" y="2876547"/>
            <a:ext cx="396000" cy="396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51" name="Ellipse 50"/>
          <p:cNvSpPr>
            <a:spLocks noChangeAspect="1"/>
          </p:cNvSpPr>
          <p:nvPr/>
        </p:nvSpPr>
        <p:spPr>
          <a:xfrm>
            <a:off x="3876672" y="3168450"/>
            <a:ext cx="432000" cy="432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52" name="Ellipse 51"/>
          <p:cNvSpPr>
            <a:spLocks noChangeAspect="1"/>
          </p:cNvSpPr>
          <p:nvPr/>
        </p:nvSpPr>
        <p:spPr>
          <a:xfrm>
            <a:off x="3667122" y="3650853"/>
            <a:ext cx="468000" cy="468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53" name="Ellipse 52"/>
          <p:cNvSpPr>
            <a:spLocks noChangeAspect="1"/>
          </p:cNvSpPr>
          <p:nvPr/>
        </p:nvSpPr>
        <p:spPr>
          <a:xfrm>
            <a:off x="3724272" y="4228506"/>
            <a:ext cx="504000" cy="504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grpSp>
        <p:nvGrpSpPr>
          <p:cNvPr id="125" name="Gruppieren 124"/>
          <p:cNvGrpSpPr>
            <a:grpSpLocks noChangeAspect="1"/>
          </p:cNvGrpSpPr>
          <p:nvPr/>
        </p:nvGrpSpPr>
        <p:grpSpPr>
          <a:xfrm>
            <a:off x="5279238" y="809607"/>
            <a:ext cx="1509555" cy="900000"/>
            <a:chOff x="5479264" y="1085832"/>
            <a:chExt cx="907249" cy="540904"/>
          </a:xfrm>
        </p:grpSpPr>
        <p:cxnSp>
          <p:nvCxnSpPr>
            <p:cNvPr id="66" name="Gerade Verbindung 65"/>
            <p:cNvCxnSpPr/>
            <p:nvPr/>
          </p:nvCxnSpPr>
          <p:spPr>
            <a:xfrm>
              <a:off x="5534033" y="1085832"/>
              <a:ext cx="0" cy="54000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/>
          </p:nvCxnSpPr>
          <p:spPr>
            <a:xfrm>
              <a:off x="5479264" y="1583536"/>
              <a:ext cx="907249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>
            <a:xfrm>
              <a:off x="5488788" y="1440664"/>
              <a:ext cx="4320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>
            <a:xfrm>
              <a:off x="5488790" y="1295409"/>
              <a:ext cx="4320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/>
          </p:nvCxnSpPr>
          <p:spPr>
            <a:xfrm>
              <a:off x="5488789" y="1152534"/>
              <a:ext cx="43200" cy="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/>
          </p:nvCxnSpPr>
          <p:spPr>
            <a:xfrm>
              <a:off x="5755480" y="1583536"/>
              <a:ext cx="0" cy="4320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/>
          </p:nvCxnSpPr>
          <p:spPr>
            <a:xfrm>
              <a:off x="6184081" y="1583536"/>
              <a:ext cx="0" cy="4320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/>
          </p:nvCxnSpPr>
          <p:spPr>
            <a:xfrm>
              <a:off x="5969810" y="1583536"/>
              <a:ext cx="0" cy="43200"/>
            </a:xfrm>
            <a:prstGeom prst="line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7" name="Freihandform 86"/>
            <p:cNvSpPr/>
            <p:nvPr/>
          </p:nvSpPr>
          <p:spPr>
            <a:xfrm>
              <a:off x="5534025" y="1147762"/>
              <a:ext cx="431006" cy="433389"/>
            </a:xfrm>
            <a:custGeom>
              <a:avLst/>
              <a:gdLst>
                <a:gd name="connsiteX0" fmla="*/ 0 w 431006"/>
                <a:gd name="connsiteY0" fmla="*/ 571500 h 571500"/>
                <a:gd name="connsiteX1" fmla="*/ 0 w 431006"/>
                <a:gd name="connsiteY1" fmla="*/ 0 h 571500"/>
                <a:gd name="connsiteX2" fmla="*/ 431006 w 431006"/>
                <a:gd name="connsiteY2" fmla="*/ 278607 h 571500"/>
                <a:gd name="connsiteX3" fmla="*/ 431006 w 431006"/>
                <a:gd name="connsiteY3" fmla="*/ 569119 h 571500"/>
                <a:gd name="connsiteX4" fmla="*/ 0 w 431006"/>
                <a:gd name="connsiteY4" fmla="*/ 571500 h 571500"/>
                <a:gd name="connsiteX0" fmla="*/ 0 w 431006"/>
                <a:gd name="connsiteY0" fmla="*/ 571500 h 571500"/>
                <a:gd name="connsiteX1" fmla="*/ 0 w 431006"/>
                <a:gd name="connsiteY1" fmla="*/ 0 h 571500"/>
                <a:gd name="connsiteX2" fmla="*/ 431006 w 431006"/>
                <a:gd name="connsiteY2" fmla="*/ 325709 h 571500"/>
                <a:gd name="connsiteX3" fmla="*/ 431006 w 431006"/>
                <a:gd name="connsiteY3" fmla="*/ 569119 h 571500"/>
                <a:gd name="connsiteX4" fmla="*/ 0 w 431006"/>
                <a:gd name="connsiteY4" fmla="*/ 57150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1006" h="571500">
                  <a:moveTo>
                    <a:pt x="0" y="571500"/>
                  </a:moveTo>
                  <a:lnTo>
                    <a:pt x="0" y="0"/>
                  </a:lnTo>
                  <a:lnTo>
                    <a:pt x="431006" y="325709"/>
                  </a:lnTo>
                  <a:lnTo>
                    <a:pt x="431006" y="569119"/>
                  </a:lnTo>
                  <a:lnTo>
                    <a:pt x="0" y="571500"/>
                  </a:lnTo>
                  <a:close/>
                </a:path>
              </a:pathLst>
            </a:custGeom>
            <a:solidFill>
              <a:schemeClr val="accent3">
                <a:lumMod val="75000"/>
              </a:schemeClr>
            </a:solid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de-DE" sz="1800" b="0">
                <a:solidFill>
                  <a:prstClr val="white"/>
                </a:solidFill>
              </a:endParaRPr>
            </a:p>
          </p:txBody>
        </p:sp>
        <p:cxnSp>
          <p:nvCxnSpPr>
            <p:cNvPr id="89" name="Gerade Verbindung 88"/>
            <p:cNvCxnSpPr>
              <a:stCxn id="87" idx="1"/>
            </p:cNvCxnSpPr>
            <p:nvPr/>
          </p:nvCxnSpPr>
          <p:spPr>
            <a:xfrm>
              <a:off x="5534025" y="1147762"/>
              <a:ext cx="736758" cy="433388"/>
            </a:xfrm>
            <a:prstGeom prst="line">
              <a:avLst/>
            </a:prstGeom>
            <a:ln w="19050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Textfeld 100"/>
          <p:cNvSpPr txBox="1"/>
          <p:nvPr/>
        </p:nvSpPr>
        <p:spPr>
          <a:xfrm>
            <a:off x="6912767" y="833428"/>
            <a:ext cx="45878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0" dirty="0" err="1" smtClean="0">
                <a:solidFill>
                  <a:srgbClr val="1F497D">
                    <a:lumMod val="50000"/>
                  </a:srgbClr>
                </a:solidFill>
                <a:latin typeface="Calibri"/>
                <a:cs typeface="+mn-cs"/>
              </a:rPr>
              <a:t>To</a:t>
            </a:r>
            <a:r>
              <a:rPr lang="de-DE" sz="900" b="0" dirty="0" smtClean="0">
                <a:solidFill>
                  <a:srgbClr val="1F497D">
                    <a:lumMod val="50000"/>
                  </a:srgbClr>
                </a:solidFill>
                <a:latin typeface="Calibri"/>
                <a:cs typeface="+mn-cs"/>
              </a:rPr>
              <a:t> Do</a:t>
            </a:r>
            <a:endParaRPr lang="de-DE" sz="900" b="0" dirty="0">
              <a:solidFill>
                <a:srgbClr val="1F497D">
                  <a:lumMod val="50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02" name="Rechteck 101"/>
          <p:cNvSpPr/>
          <p:nvPr/>
        </p:nvSpPr>
        <p:spPr>
          <a:xfrm>
            <a:off x="7936616" y="783440"/>
            <a:ext cx="438150" cy="864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900" b="0" dirty="0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103" name="Rechteck 102"/>
          <p:cNvSpPr/>
          <p:nvPr/>
        </p:nvSpPr>
        <p:spPr>
          <a:xfrm>
            <a:off x="7982930" y="1062215"/>
            <a:ext cx="339452" cy="25223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04" name="Rechteck 103"/>
          <p:cNvSpPr/>
          <p:nvPr/>
        </p:nvSpPr>
        <p:spPr>
          <a:xfrm>
            <a:off x="7982928" y="1343202"/>
            <a:ext cx="339452" cy="25223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05" name="Textfeld 104"/>
          <p:cNvSpPr txBox="1"/>
          <p:nvPr/>
        </p:nvSpPr>
        <p:spPr>
          <a:xfrm>
            <a:off x="7936613" y="828678"/>
            <a:ext cx="434734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900" b="0" dirty="0" err="1" smtClean="0">
                <a:solidFill>
                  <a:srgbClr val="1F497D">
                    <a:lumMod val="50000"/>
                  </a:srgbClr>
                </a:solidFill>
                <a:latin typeface="Calibri"/>
                <a:cs typeface="+mn-cs"/>
              </a:rPr>
              <a:t>Done</a:t>
            </a:r>
            <a:endParaRPr lang="de-DE" sz="900" b="0" dirty="0">
              <a:solidFill>
                <a:srgbClr val="1F497D">
                  <a:lumMod val="50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06" name="Rechteck 105"/>
          <p:cNvSpPr/>
          <p:nvPr/>
        </p:nvSpPr>
        <p:spPr>
          <a:xfrm>
            <a:off x="7434241" y="788181"/>
            <a:ext cx="438150" cy="86204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900" b="0" dirty="0">
              <a:solidFill>
                <a:srgbClr val="1F497D">
                  <a:lumMod val="50000"/>
                </a:srgbClr>
              </a:solidFill>
            </a:endParaRPr>
          </a:p>
        </p:txBody>
      </p:sp>
      <p:sp>
        <p:nvSpPr>
          <p:cNvPr id="107" name="Rechteck 106"/>
          <p:cNvSpPr/>
          <p:nvPr/>
        </p:nvSpPr>
        <p:spPr>
          <a:xfrm>
            <a:off x="7480555" y="1059850"/>
            <a:ext cx="339452" cy="25223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08" name="Rechteck 107"/>
          <p:cNvSpPr/>
          <p:nvPr/>
        </p:nvSpPr>
        <p:spPr>
          <a:xfrm>
            <a:off x="7480553" y="1340837"/>
            <a:ext cx="339452" cy="252239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09" name="Textfeld 108"/>
          <p:cNvSpPr txBox="1"/>
          <p:nvPr/>
        </p:nvSpPr>
        <p:spPr>
          <a:xfrm>
            <a:off x="7355665" y="783463"/>
            <a:ext cx="587019" cy="3023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900" b="0" dirty="0" smtClean="0">
                <a:solidFill>
                  <a:srgbClr val="1F497D">
                    <a:lumMod val="50000"/>
                  </a:srgbClr>
                </a:solidFill>
                <a:latin typeface="Calibri"/>
                <a:cs typeface="+mn-cs"/>
              </a:rPr>
              <a:t>In</a:t>
            </a:r>
          </a:p>
          <a:p>
            <a:pPr algn="ctr" fontAlgn="auto">
              <a:lnSpc>
                <a:spcPts val="8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900" b="0" dirty="0" smtClean="0">
                <a:solidFill>
                  <a:srgbClr val="1F497D">
                    <a:lumMod val="50000"/>
                  </a:srgbClr>
                </a:solidFill>
                <a:latin typeface="Calibri"/>
                <a:cs typeface="+mn-cs"/>
              </a:rPr>
              <a:t>Progress</a:t>
            </a:r>
            <a:endParaRPr lang="de-DE" sz="900" b="0" dirty="0">
              <a:solidFill>
                <a:srgbClr val="1F497D">
                  <a:lumMod val="50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10" name="Gebogener Pfeil 109"/>
          <p:cNvSpPr>
            <a:spLocks noChangeAspect="1"/>
          </p:cNvSpPr>
          <p:nvPr/>
        </p:nvSpPr>
        <p:spPr>
          <a:xfrm rot="18215211" flipH="1">
            <a:off x="4069225" y="3096687"/>
            <a:ext cx="1800000" cy="1800000"/>
          </a:xfrm>
          <a:prstGeom prst="circularArrow">
            <a:avLst>
              <a:gd name="adj1" fmla="val 1977"/>
              <a:gd name="adj2" fmla="val 896924"/>
              <a:gd name="adj3" fmla="val 20470880"/>
              <a:gd name="adj4" fmla="val 3068357"/>
              <a:gd name="adj5" fmla="val 5578"/>
            </a:avLst>
          </a:prstGeom>
          <a:solidFill>
            <a:schemeClr val="tx2">
              <a:lumMod val="75000"/>
            </a:schemeClr>
          </a:solidFill>
          <a:ln>
            <a:solidFill>
              <a:schemeClr val="tx2">
                <a:lumMod val="75000"/>
              </a:schemeClr>
            </a:solidFill>
          </a:ln>
          <a:effectLst>
            <a:outerShdw blurRad="50800" dist="25400" dir="16200000" sx="101000" sy="101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black"/>
              </a:solidFill>
            </a:endParaRPr>
          </a:p>
        </p:txBody>
      </p:sp>
      <p:sp>
        <p:nvSpPr>
          <p:cNvPr id="111" name="Gebogener Pfeil 110"/>
          <p:cNvSpPr>
            <a:spLocks noChangeAspect="1"/>
          </p:cNvSpPr>
          <p:nvPr/>
        </p:nvSpPr>
        <p:spPr>
          <a:xfrm rot="19730638" flipH="1">
            <a:off x="2092338" y="4288754"/>
            <a:ext cx="540000" cy="540000"/>
          </a:xfrm>
          <a:prstGeom prst="circularArrow">
            <a:avLst>
              <a:gd name="adj1" fmla="val 1977"/>
              <a:gd name="adj2" fmla="val 896924"/>
              <a:gd name="adj3" fmla="val 20470880"/>
              <a:gd name="adj4" fmla="val 3068357"/>
              <a:gd name="adj5" fmla="val 5578"/>
            </a:avLst>
          </a:prstGeom>
          <a:solidFill>
            <a:schemeClr val="accent1">
              <a:lumMod val="75000"/>
            </a:schemeClr>
          </a:solidFill>
          <a:effectLst>
            <a:outerShdw blurRad="50800" dist="25400" dir="16200000" sx="101000" sy="101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black"/>
              </a:solidFill>
            </a:endParaRPr>
          </a:p>
        </p:txBody>
      </p:sp>
      <p:sp>
        <p:nvSpPr>
          <p:cNvPr id="112" name="Gebogener Pfeil 111"/>
          <p:cNvSpPr>
            <a:spLocks noChangeAspect="1"/>
          </p:cNvSpPr>
          <p:nvPr/>
        </p:nvSpPr>
        <p:spPr>
          <a:xfrm rot="19730638" flipH="1">
            <a:off x="6340488" y="4288754"/>
            <a:ext cx="540000" cy="540000"/>
          </a:xfrm>
          <a:prstGeom prst="circularArrow">
            <a:avLst>
              <a:gd name="adj1" fmla="val 1977"/>
              <a:gd name="adj2" fmla="val 896924"/>
              <a:gd name="adj3" fmla="val 20470880"/>
              <a:gd name="adj4" fmla="val 3068357"/>
              <a:gd name="adj5" fmla="val 5578"/>
            </a:avLst>
          </a:prstGeom>
          <a:solidFill>
            <a:schemeClr val="accent1">
              <a:lumMod val="75000"/>
            </a:schemeClr>
          </a:solidFill>
          <a:effectLst>
            <a:outerShdw blurRad="50800" dist="25400" dir="16200000" sx="101000" sy="101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black"/>
              </a:solidFill>
            </a:endParaRPr>
          </a:p>
        </p:txBody>
      </p:sp>
      <p:sp>
        <p:nvSpPr>
          <p:cNvPr id="115" name="Gebogener Pfeil 114"/>
          <p:cNvSpPr>
            <a:spLocks noChangeAspect="1"/>
          </p:cNvSpPr>
          <p:nvPr/>
        </p:nvSpPr>
        <p:spPr>
          <a:xfrm rot="19730638" flipH="1">
            <a:off x="4701320" y="2169442"/>
            <a:ext cx="540000" cy="540000"/>
          </a:xfrm>
          <a:prstGeom prst="circularArrow">
            <a:avLst>
              <a:gd name="adj1" fmla="val 1977"/>
              <a:gd name="adj2" fmla="val 896924"/>
              <a:gd name="adj3" fmla="val 20470880"/>
              <a:gd name="adj4" fmla="val 3068357"/>
              <a:gd name="adj5" fmla="val 5578"/>
            </a:avLst>
          </a:prstGeom>
          <a:effectLst>
            <a:outerShdw blurRad="50800" dist="25400" dir="16200000" sx="101000" sy="101000" algn="b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black"/>
              </a:solidFill>
            </a:endParaRPr>
          </a:p>
        </p:txBody>
      </p:sp>
      <p:sp>
        <p:nvSpPr>
          <p:cNvPr id="116" name="Textfeld 115"/>
          <p:cNvSpPr txBox="1"/>
          <p:nvPr/>
        </p:nvSpPr>
        <p:spPr>
          <a:xfrm>
            <a:off x="2781300" y="3929022"/>
            <a:ext cx="76174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smtClean="0">
                <a:solidFill>
                  <a:srgbClr val="9BBB59">
                    <a:lumMod val="50000"/>
                  </a:srgbClr>
                </a:solidFill>
                <a:latin typeface="Calibri"/>
                <a:cs typeface="+mn-cs"/>
              </a:rPr>
              <a:t>Sprin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9BBB59">
                    <a:lumMod val="50000"/>
                  </a:srgbClr>
                </a:solidFill>
                <a:latin typeface="Calibri"/>
                <a:cs typeface="+mn-cs"/>
              </a:rPr>
              <a:t>Backlog</a:t>
            </a:r>
            <a:endParaRPr lang="de-DE" sz="1400" dirty="0">
              <a:solidFill>
                <a:srgbClr val="9BBB59">
                  <a:lumMod val="50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17" name="Textfeld 116"/>
          <p:cNvSpPr txBox="1"/>
          <p:nvPr/>
        </p:nvSpPr>
        <p:spPr>
          <a:xfrm>
            <a:off x="1920791" y="3786169"/>
            <a:ext cx="83228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smtClean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Sprint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Planning</a:t>
            </a:r>
            <a:endParaRPr lang="de-DE" sz="1400" dirty="0">
              <a:solidFill>
                <a:srgbClr val="4F81BD">
                  <a:lumMod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18" name="Textfeld 117"/>
          <p:cNvSpPr txBox="1"/>
          <p:nvPr/>
        </p:nvSpPr>
        <p:spPr>
          <a:xfrm>
            <a:off x="952500" y="2724150"/>
            <a:ext cx="76918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9BBB59">
                    <a:lumMod val="50000"/>
                  </a:srgbClr>
                </a:solidFill>
                <a:latin typeface="Calibri"/>
                <a:cs typeface="+mn-cs"/>
              </a:rPr>
              <a:t>Product</a:t>
            </a:r>
            <a:endParaRPr lang="de-DE" sz="1400" dirty="0" smtClean="0">
              <a:solidFill>
                <a:srgbClr val="9BBB59">
                  <a:lumMod val="50000"/>
                </a:srgbClr>
              </a:solidFill>
              <a:latin typeface="Calibri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9BBB59">
                    <a:lumMod val="50000"/>
                  </a:srgbClr>
                </a:solidFill>
                <a:latin typeface="Calibri"/>
                <a:cs typeface="+mn-cs"/>
              </a:rPr>
              <a:t>Backlog</a:t>
            </a:r>
            <a:endParaRPr lang="de-DE" sz="1400" dirty="0">
              <a:solidFill>
                <a:srgbClr val="9BBB59">
                  <a:lumMod val="50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19" name="Textfeld 118"/>
          <p:cNvSpPr txBox="1"/>
          <p:nvPr/>
        </p:nvSpPr>
        <p:spPr>
          <a:xfrm>
            <a:off x="7105650" y="466725"/>
            <a:ext cx="98963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smtClean="0">
                <a:solidFill>
                  <a:srgbClr val="9BBB59">
                    <a:lumMod val="50000"/>
                  </a:srgbClr>
                </a:solidFill>
                <a:latin typeface="Calibri"/>
                <a:cs typeface="+mn-cs"/>
              </a:rPr>
              <a:t>Task Board</a:t>
            </a:r>
            <a:endParaRPr lang="de-DE" sz="1400" dirty="0">
              <a:solidFill>
                <a:srgbClr val="9BBB59">
                  <a:lumMod val="50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20" name="Textfeld 119"/>
          <p:cNvSpPr txBox="1"/>
          <p:nvPr/>
        </p:nvSpPr>
        <p:spPr>
          <a:xfrm>
            <a:off x="5429250" y="476250"/>
            <a:ext cx="96340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9BBB59">
                    <a:lumMod val="50000"/>
                  </a:srgbClr>
                </a:solidFill>
                <a:latin typeface="Calibri"/>
                <a:cs typeface="+mn-cs"/>
              </a:rPr>
              <a:t>Burndown</a:t>
            </a:r>
            <a:endParaRPr lang="de-DE" sz="1400" dirty="0" smtClean="0">
              <a:solidFill>
                <a:srgbClr val="9BBB59">
                  <a:lumMod val="50000"/>
                </a:srgbClr>
              </a:solidFill>
              <a:latin typeface="Calibri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smtClean="0">
                <a:solidFill>
                  <a:srgbClr val="9BBB59">
                    <a:lumMod val="50000"/>
                  </a:srgbClr>
                </a:solidFill>
                <a:latin typeface="Calibri"/>
                <a:cs typeface="+mn-cs"/>
              </a:rPr>
              <a:t>Chart</a:t>
            </a:r>
            <a:endParaRPr lang="de-DE" sz="1400" dirty="0">
              <a:solidFill>
                <a:srgbClr val="9BBB59">
                  <a:lumMod val="50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21" name="Textfeld 120"/>
          <p:cNvSpPr txBox="1"/>
          <p:nvPr/>
        </p:nvSpPr>
        <p:spPr>
          <a:xfrm>
            <a:off x="4023543" y="2162175"/>
            <a:ext cx="65114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smtClean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Daily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Scrum</a:t>
            </a:r>
            <a:endParaRPr lang="de-DE" sz="1400" dirty="0">
              <a:solidFill>
                <a:srgbClr val="4F81BD">
                  <a:lumMod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22" name="Textfeld 121"/>
          <p:cNvSpPr txBox="1"/>
          <p:nvPr/>
        </p:nvSpPr>
        <p:spPr>
          <a:xfrm>
            <a:off x="1702430" y="5900737"/>
            <a:ext cx="68615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err="1" smtClean="0">
                <a:solidFill>
                  <a:srgbClr val="9BBB59">
                    <a:lumMod val="75000"/>
                  </a:srgbClr>
                </a:solidFill>
                <a:latin typeface="Calibri"/>
                <a:cs typeface="+mn-cs"/>
              </a:rPr>
              <a:t>Product</a:t>
            </a:r>
            <a:endParaRPr lang="de-DE" sz="1200" dirty="0" smtClean="0">
              <a:solidFill>
                <a:srgbClr val="9BBB59">
                  <a:lumMod val="75000"/>
                </a:srgbClr>
              </a:solidFill>
              <a:latin typeface="Calibri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err="1" smtClean="0">
                <a:solidFill>
                  <a:srgbClr val="9BBB59">
                    <a:lumMod val="75000"/>
                  </a:srgbClr>
                </a:solidFill>
                <a:latin typeface="Calibri"/>
                <a:cs typeface="+mn-cs"/>
              </a:rPr>
              <a:t>Owner</a:t>
            </a:r>
            <a:endParaRPr lang="de-DE" sz="1200" dirty="0">
              <a:solidFill>
                <a:srgbClr val="9BBB59">
                  <a:lumMod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23" name="Textfeld 122"/>
          <p:cNvSpPr txBox="1"/>
          <p:nvPr/>
        </p:nvSpPr>
        <p:spPr>
          <a:xfrm>
            <a:off x="6248400" y="3781425"/>
            <a:ext cx="76918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Product</a:t>
            </a:r>
            <a:endParaRPr lang="de-DE" sz="1400" dirty="0" smtClean="0">
              <a:solidFill>
                <a:srgbClr val="4F81BD">
                  <a:lumMod val="75000"/>
                </a:srgbClr>
              </a:solidFill>
              <a:latin typeface="Calibri"/>
              <a:cs typeface="+mn-cs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400" dirty="0" err="1" smtClean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Backlog</a:t>
            </a:r>
            <a:endParaRPr lang="de-DE" sz="1400" dirty="0">
              <a:solidFill>
                <a:srgbClr val="4F81BD">
                  <a:lumMod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24" name="Textfeld 123"/>
          <p:cNvSpPr txBox="1"/>
          <p:nvPr/>
        </p:nvSpPr>
        <p:spPr>
          <a:xfrm>
            <a:off x="4600575" y="3810000"/>
            <a:ext cx="756426" cy="36933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de-DE" sz="1800" dirty="0" smtClean="0">
                <a:solidFill>
                  <a:srgbClr val="1F497D">
                    <a:lumMod val="75000"/>
                  </a:srgbClr>
                </a:solidFill>
                <a:latin typeface="Calibri"/>
                <a:cs typeface="+mn-cs"/>
              </a:rPr>
              <a:t>Sprint</a:t>
            </a:r>
            <a:endParaRPr lang="de-DE" sz="1800" dirty="0">
              <a:solidFill>
                <a:srgbClr val="1F497D">
                  <a:lumMod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26" name="Rechteck 125"/>
          <p:cNvSpPr/>
          <p:nvPr/>
        </p:nvSpPr>
        <p:spPr>
          <a:xfrm>
            <a:off x="1026372" y="4612083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27" name="Rechteck 126"/>
          <p:cNvSpPr/>
          <p:nvPr/>
        </p:nvSpPr>
        <p:spPr>
          <a:xfrm>
            <a:off x="1026371" y="4443011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28" name="Rechteck 127"/>
          <p:cNvSpPr/>
          <p:nvPr/>
        </p:nvSpPr>
        <p:spPr>
          <a:xfrm>
            <a:off x="1026370" y="4273939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29" name="Rechteck 128"/>
          <p:cNvSpPr/>
          <p:nvPr/>
        </p:nvSpPr>
        <p:spPr>
          <a:xfrm>
            <a:off x="1028750" y="4104867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30" name="Rechteck 129"/>
          <p:cNvSpPr/>
          <p:nvPr/>
        </p:nvSpPr>
        <p:spPr>
          <a:xfrm>
            <a:off x="1028750" y="3935796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31" name="Rechteck 130"/>
          <p:cNvSpPr/>
          <p:nvPr/>
        </p:nvSpPr>
        <p:spPr>
          <a:xfrm>
            <a:off x="1028746" y="3766720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32" name="Rechteck 131"/>
          <p:cNvSpPr/>
          <p:nvPr/>
        </p:nvSpPr>
        <p:spPr>
          <a:xfrm>
            <a:off x="1028744" y="3597650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33" name="Rechteck 132"/>
          <p:cNvSpPr/>
          <p:nvPr/>
        </p:nvSpPr>
        <p:spPr>
          <a:xfrm>
            <a:off x="1028746" y="3428573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34" name="Rechteck 133"/>
          <p:cNvSpPr/>
          <p:nvPr/>
        </p:nvSpPr>
        <p:spPr>
          <a:xfrm>
            <a:off x="1028700" y="3259535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35" name="Rechteck 134"/>
          <p:cNvSpPr/>
          <p:nvPr/>
        </p:nvSpPr>
        <p:spPr>
          <a:xfrm>
            <a:off x="2844157" y="4603131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36" name="Rechteck 135"/>
          <p:cNvSpPr/>
          <p:nvPr/>
        </p:nvSpPr>
        <p:spPr>
          <a:xfrm>
            <a:off x="2844157" y="4429301"/>
            <a:ext cx="648072" cy="144016"/>
          </a:xfrm>
          <a:prstGeom prst="rect">
            <a:avLst/>
          </a:prstGeom>
          <a:solidFill>
            <a:schemeClr val="accent3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48" name="Textfeld 147"/>
          <p:cNvSpPr txBox="1"/>
          <p:nvPr/>
        </p:nvSpPr>
        <p:spPr>
          <a:xfrm>
            <a:off x="2509174" y="5900736"/>
            <a:ext cx="63632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err="1" smtClean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Scrum</a:t>
            </a:r>
            <a:endParaRPr lang="de-DE" sz="1200" dirty="0" smtClean="0">
              <a:solidFill>
                <a:srgbClr val="4F81BD">
                  <a:lumMod val="75000"/>
                </a:srgbClr>
              </a:solidFill>
              <a:latin typeface="Calibri"/>
              <a:cs typeface="+mn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smtClean="0">
                <a:solidFill>
                  <a:srgbClr val="4F81BD">
                    <a:lumMod val="75000"/>
                  </a:srgbClr>
                </a:solidFill>
                <a:latin typeface="Calibri"/>
                <a:cs typeface="+mn-cs"/>
              </a:rPr>
              <a:t>Master</a:t>
            </a:r>
            <a:endParaRPr lang="de-DE" sz="1200" dirty="0">
              <a:solidFill>
                <a:srgbClr val="4F81BD">
                  <a:lumMod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49" name="Textfeld 148"/>
          <p:cNvSpPr txBox="1"/>
          <p:nvPr/>
        </p:nvSpPr>
        <p:spPr>
          <a:xfrm>
            <a:off x="3241121" y="5900734"/>
            <a:ext cx="73609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smtClean="0">
                <a:solidFill>
                  <a:srgbClr val="1F497D">
                    <a:lumMod val="75000"/>
                  </a:srgbClr>
                </a:solidFill>
                <a:latin typeface="Calibri"/>
                <a:cs typeface="+mn-cs"/>
              </a:rPr>
              <a:t>Team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sz="1200" dirty="0" smtClean="0">
                <a:solidFill>
                  <a:srgbClr val="1F497D">
                    <a:lumMod val="75000"/>
                  </a:srgbClr>
                </a:solidFill>
                <a:latin typeface="Calibri"/>
                <a:cs typeface="+mn-cs"/>
              </a:rPr>
              <a:t>Member</a:t>
            </a:r>
            <a:endParaRPr lang="de-DE" sz="1200" dirty="0">
              <a:solidFill>
                <a:srgbClr val="1F497D">
                  <a:lumMod val="75000"/>
                </a:srgbClr>
              </a:solidFill>
              <a:latin typeface="Calibri"/>
              <a:cs typeface="+mn-cs"/>
            </a:endParaRPr>
          </a:p>
        </p:txBody>
      </p:sp>
      <p:sp>
        <p:nvSpPr>
          <p:cNvPr id="158" name="Freihandform 157"/>
          <p:cNvSpPr>
            <a:spLocks noChangeAspect="1"/>
          </p:cNvSpPr>
          <p:nvPr/>
        </p:nvSpPr>
        <p:spPr>
          <a:xfrm>
            <a:off x="1878611" y="5635525"/>
            <a:ext cx="288000" cy="301003"/>
          </a:xfrm>
          <a:custGeom>
            <a:avLst/>
            <a:gdLst>
              <a:gd name="connsiteX0" fmla="*/ 211931 w 250031"/>
              <a:gd name="connsiteY0" fmla="*/ 276225 h 276225"/>
              <a:gd name="connsiteX1" fmla="*/ 247650 w 250031"/>
              <a:gd name="connsiteY1" fmla="*/ 221457 h 276225"/>
              <a:gd name="connsiteX2" fmla="*/ 250031 w 250031"/>
              <a:gd name="connsiteY2" fmla="*/ 161925 h 276225"/>
              <a:gd name="connsiteX3" fmla="*/ 242887 w 250031"/>
              <a:gd name="connsiteY3" fmla="*/ 95250 h 276225"/>
              <a:gd name="connsiteX4" fmla="*/ 233362 w 250031"/>
              <a:gd name="connsiteY4" fmla="*/ 66675 h 276225"/>
              <a:gd name="connsiteX5" fmla="*/ 216693 w 250031"/>
              <a:gd name="connsiteY5" fmla="*/ 40482 h 276225"/>
              <a:gd name="connsiteX6" fmla="*/ 202406 w 250031"/>
              <a:gd name="connsiteY6" fmla="*/ 21432 h 276225"/>
              <a:gd name="connsiteX7" fmla="*/ 180975 w 250031"/>
              <a:gd name="connsiteY7" fmla="*/ 7144 h 276225"/>
              <a:gd name="connsiteX8" fmla="*/ 152400 w 250031"/>
              <a:gd name="connsiteY8" fmla="*/ 0 h 276225"/>
              <a:gd name="connsiteX9" fmla="*/ 123825 w 250031"/>
              <a:gd name="connsiteY9" fmla="*/ 0 h 276225"/>
              <a:gd name="connsiteX10" fmla="*/ 85725 w 250031"/>
              <a:gd name="connsiteY10" fmla="*/ 4763 h 276225"/>
              <a:gd name="connsiteX11" fmla="*/ 59531 w 250031"/>
              <a:gd name="connsiteY11" fmla="*/ 19050 h 276225"/>
              <a:gd name="connsiteX12" fmla="*/ 35718 w 250031"/>
              <a:gd name="connsiteY12" fmla="*/ 40482 h 276225"/>
              <a:gd name="connsiteX13" fmla="*/ 14287 w 250031"/>
              <a:gd name="connsiteY13" fmla="*/ 78582 h 276225"/>
              <a:gd name="connsiteX14" fmla="*/ 2381 w 250031"/>
              <a:gd name="connsiteY14" fmla="*/ 119063 h 276225"/>
              <a:gd name="connsiteX15" fmla="*/ 0 w 250031"/>
              <a:gd name="connsiteY15" fmla="*/ 147638 h 276225"/>
              <a:gd name="connsiteX16" fmla="*/ 0 w 250031"/>
              <a:gd name="connsiteY16" fmla="*/ 195263 h 276225"/>
              <a:gd name="connsiteX17" fmla="*/ 14287 w 250031"/>
              <a:gd name="connsiteY17" fmla="*/ 216694 h 276225"/>
              <a:gd name="connsiteX18" fmla="*/ 61912 w 250031"/>
              <a:gd name="connsiteY18" fmla="*/ 245269 h 276225"/>
              <a:gd name="connsiteX19" fmla="*/ 109537 w 250031"/>
              <a:gd name="connsiteY19" fmla="*/ 259557 h 276225"/>
              <a:gd name="connsiteX20" fmla="*/ 211931 w 250031"/>
              <a:gd name="connsiteY20" fmla="*/ 276225 h 276225"/>
              <a:gd name="connsiteX0" fmla="*/ 207168 w 250031"/>
              <a:gd name="connsiteY0" fmla="*/ 261937 h 261937"/>
              <a:gd name="connsiteX1" fmla="*/ 247650 w 250031"/>
              <a:gd name="connsiteY1" fmla="*/ 221457 h 261937"/>
              <a:gd name="connsiteX2" fmla="*/ 250031 w 250031"/>
              <a:gd name="connsiteY2" fmla="*/ 161925 h 261937"/>
              <a:gd name="connsiteX3" fmla="*/ 242887 w 250031"/>
              <a:gd name="connsiteY3" fmla="*/ 95250 h 261937"/>
              <a:gd name="connsiteX4" fmla="*/ 233362 w 250031"/>
              <a:gd name="connsiteY4" fmla="*/ 66675 h 261937"/>
              <a:gd name="connsiteX5" fmla="*/ 216693 w 250031"/>
              <a:gd name="connsiteY5" fmla="*/ 40482 h 261937"/>
              <a:gd name="connsiteX6" fmla="*/ 202406 w 250031"/>
              <a:gd name="connsiteY6" fmla="*/ 21432 h 261937"/>
              <a:gd name="connsiteX7" fmla="*/ 180975 w 250031"/>
              <a:gd name="connsiteY7" fmla="*/ 7144 h 261937"/>
              <a:gd name="connsiteX8" fmla="*/ 152400 w 250031"/>
              <a:gd name="connsiteY8" fmla="*/ 0 h 261937"/>
              <a:gd name="connsiteX9" fmla="*/ 123825 w 250031"/>
              <a:gd name="connsiteY9" fmla="*/ 0 h 261937"/>
              <a:gd name="connsiteX10" fmla="*/ 85725 w 250031"/>
              <a:gd name="connsiteY10" fmla="*/ 4763 h 261937"/>
              <a:gd name="connsiteX11" fmla="*/ 59531 w 250031"/>
              <a:gd name="connsiteY11" fmla="*/ 19050 h 261937"/>
              <a:gd name="connsiteX12" fmla="*/ 35718 w 250031"/>
              <a:gd name="connsiteY12" fmla="*/ 40482 h 261937"/>
              <a:gd name="connsiteX13" fmla="*/ 14287 w 250031"/>
              <a:gd name="connsiteY13" fmla="*/ 78582 h 261937"/>
              <a:gd name="connsiteX14" fmla="*/ 2381 w 250031"/>
              <a:gd name="connsiteY14" fmla="*/ 119063 h 261937"/>
              <a:gd name="connsiteX15" fmla="*/ 0 w 250031"/>
              <a:gd name="connsiteY15" fmla="*/ 147638 h 261937"/>
              <a:gd name="connsiteX16" fmla="*/ 0 w 250031"/>
              <a:gd name="connsiteY16" fmla="*/ 195263 h 261937"/>
              <a:gd name="connsiteX17" fmla="*/ 14287 w 250031"/>
              <a:gd name="connsiteY17" fmla="*/ 216694 h 261937"/>
              <a:gd name="connsiteX18" fmla="*/ 61912 w 250031"/>
              <a:gd name="connsiteY18" fmla="*/ 245269 h 261937"/>
              <a:gd name="connsiteX19" fmla="*/ 109537 w 250031"/>
              <a:gd name="connsiteY19" fmla="*/ 259557 h 261937"/>
              <a:gd name="connsiteX20" fmla="*/ 207168 w 250031"/>
              <a:gd name="connsiteY20" fmla="*/ 261937 h 261937"/>
              <a:gd name="connsiteX0" fmla="*/ 205435 w 250031"/>
              <a:gd name="connsiteY0" fmla="*/ 255873 h 259557"/>
              <a:gd name="connsiteX1" fmla="*/ 247650 w 250031"/>
              <a:gd name="connsiteY1" fmla="*/ 221457 h 259557"/>
              <a:gd name="connsiteX2" fmla="*/ 250031 w 250031"/>
              <a:gd name="connsiteY2" fmla="*/ 161925 h 259557"/>
              <a:gd name="connsiteX3" fmla="*/ 242887 w 250031"/>
              <a:gd name="connsiteY3" fmla="*/ 95250 h 259557"/>
              <a:gd name="connsiteX4" fmla="*/ 233362 w 250031"/>
              <a:gd name="connsiteY4" fmla="*/ 66675 h 259557"/>
              <a:gd name="connsiteX5" fmla="*/ 216693 w 250031"/>
              <a:gd name="connsiteY5" fmla="*/ 40482 h 259557"/>
              <a:gd name="connsiteX6" fmla="*/ 202406 w 250031"/>
              <a:gd name="connsiteY6" fmla="*/ 21432 h 259557"/>
              <a:gd name="connsiteX7" fmla="*/ 180975 w 250031"/>
              <a:gd name="connsiteY7" fmla="*/ 7144 h 259557"/>
              <a:gd name="connsiteX8" fmla="*/ 152400 w 250031"/>
              <a:gd name="connsiteY8" fmla="*/ 0 h 259557"/>
              <a:gd name="connsiteX9" fmla="*/ 123825 w 250031"/>
              <a:gd name="connsiteY9" fmla="*/ 0 h 259557"/>
              <a:gd name="connsiteX10" fmla="*/ 85725 w 250031"/>
              <a:gd name="connsiteY10" fmla="*/ 4763 h 259557"/>
              <a:gd name="connsiteX11" fmla="*/ 59531 w 250031"/>
              <a:gd name="connsiteY11" fmla="*/ 19050 h 259557"/>
              <a:gd name="connsiteX12" fmla="*/ 35718 w 250031"/>
              <a:gd name="connsiteY12" fmla="*/ 40482 h 259557"/>
              <a:gd name="connsiteX13" fmla="*/ 14287 w 250031"/>
              <a:gd name="connsiteY13" fmla="*/ 78582 h 259557"/>
              <a:gd name="connsiteX14" fmla="*/ 2381 w 250031"/>
              <a:gd name="connsiteY14" fmla="*/ 119063 h 259557"/>
              <a:gd name="connsiteX15" fmla="*/ 0 w 250031"/>
              <a:gd name="connsiteY15" fmla="*/ 147638 h 259557"/>
              <a:gd name="connsiteX16" fmla="*/ 0 w 250031"/>
              <a:gd name="connsiteY16" fmla="*/ 195263 h 259557"/>
              <a:gd name="connsiteX17" fmla="*/ 14287 w 250031"/>
              <a:gd name="connsiteY17" fmla="*/ 216694 h 259557"/>
              <a:gd name="connsiteX18" fmla="*/ 61912 w 250031"/>
              <a:gd name="connsiteY18" fmla="*/ 245269 h 259557"/>
              <a:gd name="connsiteX19" fmla="*/ 109537 w 250031"/>
              <a:gd name="connsiteY19" fmla="*/ 259557 h 259557"/>
              <a:gd name="connsiteX20" fmla="*/ 205435 w 250031"/>
              <a:gd name="connsiteY20" fmla="*/ 255873 h 259557"/>
              <a:gd name="connsiteX0" fmla="*/ 205435 w 250031"/>
              <a:gd name="connsiteY0" fmla="*/ 255873 h 264031"/>
              <a:gd name="connsiteX1" fmla="*/ 247650 w 250031"/>
              <a:gd name="connsiteY1" fmla="*/ 221457 h 264031"/>
              <a:gd name="connsiteX2" fmla="*/ 250031 w 250031"/>
              <a:gd name="connsiteY2" fmla="*/ 161925 h 264031"/>
              <a:gd name="connsiteX3" fmla="*/ 242887 w 250031"/>
              <a:gd name="connsiteY3" fmla="*/ 95250 h 264031"/>
              <a:gd name="connsiteX4" fmla="*/ 233362 w 250031"/>
              <a:gd name="connsiteY4" fmla="*/ 66675 h 264031"/>
              <a:gd name="connsiteX5" fmla="*/ 216693 w 250031"/>
              <a:gd name="connsiteY5" fmla="*/ 40482 h 264031"/>
              <a:gd name="connsiteX6" fmla="*/ 202406 w 250031"/>
              <a:gd name="connsiteY6" fmla="*/ 21432 h 264031"/>
              <a:gd name="connsiteX7" fmla="*/ 180975 w 250031"/>
              <a:gd name="connsiteY7" fmla="*/ 7144 h 264031"/>
              <a:gd name="connsiteX8" fmla="*/ 152400 w 250031"/>
              <a:gd name="connsiteY8" fmla="*/ 0 h 264031"/>
              <a:gd name="connsiteX9" fmla="*/ 123825 w 250031"/>
              <a:gd name="connsiteY9" fmla="*/ 0 h 264031"/>
              <a:gd name="connsiteX10" fmla="*/ 85725 w 250031"/>
              <a:gd name="connsiteY10" fmla="*/ 4763 h 264031"/>
              <a:gd name="connsiteX11" fmla="*/ 59531 w 250031"/>
              <a:gd name="connsiteY11" fmla="*/ 19050 h 264031"/>
              <a:gd name="connsiteX12" fmla="*/ 35718 w 250031"/>
              <a:gd name="connsiteY12" fmla="*/ 40482 h 264031"/>
              <a:gd name="connsiteX13" fmla="*/ 14287 w 250031"/>
              <a:gd name="connsiteY13" fmla="*/ 78582 h 264031"/>
              <a:gd name="connsiteX14" fmla="*/ 2381 w 250031"/>
              <a:gd name="connsiteY14" fmla="*/ 119063 h 264031"/>
              <a:gd name="connsiteX15" fmla="*/ 0 w 250031"/>
              <a:gd name="connsiteY15" fmla="*/ 147638 h 264031"/>
              <a:gd name="connsiteX16" fmla="*/ 0 w 250031"/>
              <a:gd name="connsiteY16" fmla="*/ 195263 h 264031"/>
              <a:gd name="connsiteX17" fmla="*/ 14287 w 250031"/>
              <a:gd name="connsiteY17" fmla="*/ 216694 h 264031"/>
              <a:gd name="connsiteX18" fmla="*/ 61912 w 250031"/>
              <a:gd name="connsiteY18" fmla="*/ 245269 h 264031"/>
              <a:gd name="connsiteX19" fmla="*/ 109537 w 250031"/>
              <a:gd name="connsiteY19" fmla="*/ 259557 h 264031"/>
              <a:gd name="connsiteX20" fmla="*/ 205435 w 250031"/>
              <a:gd name="connsiteY20" fmla="*/ 255873 h 264031"/>
              <a:gd name="connsiteX0" fmla="*/ 205435 w 250031"/>
              <a:gd name="connsiteY0" fmla="*/ 255873 h 264031"/>
              <a:gd name="connsiteX1" fmla="*/ 247650 w 250031"/>
              <a:gd name="connsiteY1" fmla="*/ 221457 h 264031"/>
              <a:gd name="connsiteX2" fmla="*/ 250031 w 250031"/>
              <a:gd name="connsiteY2" fmla="*/ 161925 h 264031"/>
              <a:gd name="connsiteX3" fmla="*/ 242887 w 250031"/>
              <a:gd name="connsiteY3" fmla="*/ 95250 h 264031"/>
              <a:gd name="connsiteX4" fmla="*/ 233362 w 250031"/>
              <a:gd name="connsiteY4" fmla="*/ 66675 h 264031"/>
              <a:gd name="connsiteX5" fmla="*/ 216693 w 250031"/>
              <a:gd name="connsiteY5" fmla="*/ 40482 h 264031"/>
              <a:gd name="connsiteX6" fmla="*/ 202406 w 250031"/>
              <a:gd name="connsiteY6" fmla="*/ 21432 h 264031"/>
              <a:gd name="connsiteX7" fmla="*/ 180975 w 250031"/>
              <a:gd name="connsiteY7" fmla="*/ 7144 h 264031"/>
              <a:gd name="connsiteX8" fmla="*/ 152400 w 250031"/>
              <a:gd name="connsiteY8" fmla="*/ 0 h 264031"/>
              <a:gd name="connsiteX9" fmla="*/ 123825 w 250031"/>
              <a:gd name="connsiteY9" fmla="*/ 0 h 264031"/>
              <a:gd name="connsiteX10" fmla="*/ 85725 w 250031"/>
              <a:gd name="connsiteY10" fmla="*/ 4763 h 264031"/>
              <a:gd name="connsiteX11" fmla="*/ 59531 w 250031"/>
              <a:gd name="connsiteY11" fmla="*/ 19050 h 264031"/>
              <a:gd name="connsiteX12" fmla="*/ 35718 w 250031"/>
              <a:gd name="connsiteY12" fmla="*/ 40482 h 264031"/>
              <a:gd name="connsiteX13" fmla="*/ 14287 w 250031"/>
              <a:gd name="connsiteY13" fmla="*/ 78582 h 264031"/>
              <a:gd name="connsiteX14" fmla="*/ 2381 w 250031"/>
              <a:gd name="connsiteY14" fmla="*/ 119063 h 264031"/>
              <a:gd name="connsiteX15" fmla="*/ 0 w 250031"/>
              <a:gd name="connsiteY15" fmla="*/ 147638 h 264031"/>
              <a:gd name="connsiteX16" fmla="*/ 0 w 250031"/>
              <a:gd name="connsiteY16" fmla="*/ 195263 h 264031"/>
              <a:gd name="connsiteX17" fmla="*/ 14287 w 250031"/>
              <a:gd name="connsiteY17" fmla="*/ 216694 h 264031"/>
              <a:gd name="connsiteX18" fmla="*/ 61912 w 250031"/>
              <a:gd name="connsiteY18" fmla="*/ 245269 h 264031"/>
              <a:gd name="connsiteX19" fmla="*/ 109537 w 250031"/>
              <a:gd name="connsiteY19" fmla="*/ 259557 h 264031"/>
              <a:gd name="connsiteX20" fmla="*/ 205435 w 250031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74323"/>
              <a:gd name="connsiteX1" fmla="*/ 250031 w 257756"/>
              <a:gd name="connsiteY1" fmla="*/ 222648 h 274323"/>
              <a:gd name="connsiteX2" fmla="*/ 252412 w 257756"/>
              <a:gd name="connsiteY2" fmla="*/ 163116 h 274323"/>
              <a:gd name="connsiteX3" fmla="*/ 245268 w 257756"/>
              <a:gd name="connsiteY3" fmla="*/ 96441 h 274323"/>
              <a:gd name="connsiteX4" fmla="*/ 235743 w 257756"/>
              <a:gd name="connsiteY4" fmla="*/ 67866 h 274323"/>
              <a:gd name="connsiteX5" fmla="*/ 219074 w 257756"/>
              <a:gd name="connsiteY5" fmla="*/ 41673 h 274323"/>
              <a:gd name="connsiteX6" fmla="*/ 204787 w 257756"/>
              <a:gd name="connsiteY6" fmla="*/ 22623 h 274323"/>
              <a:gd name="connsiteX7" fmla="*/ 183356 w 257756"/>
              <a:gd name="connsiteY7" fmla="*/ 8335 h 274323"/>
              <a:gd name="connsiteX8" fmla="*/ 154781 w 257756"/>
              <a:gd name="connsiteY8" fmla="*/ 1191 h 274323"/>
              <a:gd name="connsiteX9" fmla="*/ 126206 w 257756"/>
              <a:gd name="connsiteY9" fmla="*/ 1191 h 274323"/>
              <a:gd name="connsiteX10" fmla="*/ 88106 w 257756"/>
              <a:gd name="connsiteY10" fmla="*/ 5954 h 274323"/>
              <a:gd name="connsiteX11" fmla="*/ 61912 w 257756"/>
              <a:gd name="connsiteY11" fmla="*/ 20241 h 274323"/>
              <a:gd name="connsiteX12" fmla="*/ 38099 w 257756"/>
              <a:gd name="connsiteY12" fmla="*/ 41673 h 274323"/>
              <a:gd name="connsiteX13" fmla="*/ 16668 w 257756"/>
              <a:gd name="connsiteY13" fmla="*/ 79773 h 274323"/>
              <a:gd name="connsiteX14" fmla="*/ 4762 w 257756"/>
              <a:gd name="connsiteY14" fmla="*/ 120254 h 274323"/>
              <a:gd name="connsiteX15" fmla="*/ 2381 w 257756"/>
              <a:gd name="connsiteY15" fmla="*/ 148829 h 274323"/>
              <a:gd name="connsiteX16" fmla="*/ 2381 w 257756"/>
              <a:gd name="connsiteY16" fmla="*/ 196454 h 274323"/>
              <a:gd name="connsiteX17" fmla="*/ 16668 w 257756"/>
              <a:gd name="connsiteY17" fmla="*/ 217885 h 274323"/>
              <a:gd name="connsiteX18" fmla="*/ 64293 w 257756"/>
              <a:gd name="connsiteY18" fmla="*/ 246460 h 274323"/>
              <a:gd name="connsiteX19" fmla="*/ 111918 w 257756"/>
              <a:gd name="connsiteY19" fmla="*/ 260748 h 274323"/>
              <a:gd name="connsiteX20" fmla="*/ 207816 w 257756"/>
              <a:gd name="connsiteY20" fmla="*/ 257064 h 274323"/>
              <a:gd name="connsiteX0" fmla="*/ 207816 w 257756"/>
              <a:gd name="connsiteY0" fmla="*/ 257064 h 274323"/>
              <a:gd name="connsiteX1" fmla="*/ 250031 w 257756"/>
              <a:gd name="connsiteY1" fmla="*/ 222648 h 274323"/>
              <a:gd name="connsiteX2" fmla="*/ 252412 w 257756"/>
              <a:gd name="connsiteY2" fmla="*/ 163116 h 274323"/>
              <a:gd name="connsiteX3" fmla="*/ 245268 w 257756"/>
              <a:gd name="connsiteY3" fmla="*/ 96441 h 274323"/>
              <a:gd name="connsiteX4" fmla="*/ 235743 w 257756"/>
              <a:gd name="connsiteY4" fmla="*/ 67866 h 274323"/>
              <a:gd name="connsiteX5" fmla="*/ 219074 w 257756"/>
              <a:gd name="connsiteY5" fmla="*/ 41673 h 274323"/>
              <a:gd name="connsiteX6" fmla="*/ 204787 w 257756"/>
              <a:gd name="connsiteY6" fmla="*/ 22623 h 274323"/>
              <a:gd name="connsiteX7" fmla="*/ 183356 w 257756"/>
              <a:gd name="connsiteY7" fmla="*/ 8335 h 274323"/>
              <a:gd name="connsiteX8" fmla="*/ 154781 w 257756"/>
              <a:gd name="connsiteY8" fmla="*/ 1191 h 274323"/>
              <a:gd name="connsiteX9" fmla="*/ 126206 w 257756"/>
              <a:gd name="connsiteY9" fmla="*/ 1191 h 274323"/>
              <a:gd name="connsiteX10" fmla="*/ 88106 w 257756"/>
              <a:gd name="connsiteY10" fmla="*/ 5954 h 274323"/>
              <a:gd name="connsiteX11" fmla="*/ 61912 w 257756"/>
              <a:gd name="connsiteY11" fmla="*/ 20241 h 274323"/>
              <a:gd name="connsiteX12" fmla="*/ 38099 w 257756"/>
              <a:gd name="connsiteY12" fmla="*/ 41673 h 274323"/>
              <a:gd name="connsiteX13" fmla="*/ 16668 w 257756"/>
              <a:gd name="connsiteY13" fmla="*/ 79773 h 274323"/>
              <a:gd name="connsiteX14" fmla="*/ 4762 w 257756"/>
              <a:gd name="connsiteY14" fmla="*/ 120254 h 274323"/>
              <a:gd name="connsiteX15" fmla="*/ 2381 w 257756"/>
              <a:gd name="connsiteY15" fmla="*/ 148829 h 274323"/>
              <a:gd name="connsiteX16" fmla="*/ 2381 w 257756"/>
              <a:gd name="connsiteY16" fmla="*/ 196454 h 274323"/>
              <a:gd name="connsiteX17" fmla="*/ 16668 w 257756"/>
              <a:gd name="connsiteY17" fmla="*/ 217885 h 274323"/>
              <a:gd name="connsiteX18" fmla="*/ 64293 w 257756"/>
              <a:gd name="connsiteY18" fmla="*/ 246460 h 274323"/>
              <a:gd name="connsiteX19" fmla="*/ 128378 w 257756"/>
              <a:gd name="connsiteY19" fmla="*/ 265946 h 274323"/>
              <a:gd name="connsiteX20" fmla="*/ 207816 w 257756"/>
              <a:gd name="connsiteY20" fmla="*/ 257064 h 274323"/>
              <a:gd name="connsiteX0" fmla="*/ 207816 w 257756"/>
              <a:gd name="connsiteY0" fmla="*/ 257064 h 269394"/>
              <a:gd name="connsiteX1" fmla="*/ 250031 w 257756"/>
              <a:gd name="connsiteY1" fmla="*/ 222648 h 269394"/>
              <a:gd name="connsiteX2" fmla="*/ 252412 w 257756"/>
              <a:gd name="connsiteY2" fmla="*/ 163116 h 269394"/>
              <a:gd name="connsiteX3" fmla="*/ 245268 w 257756"/>
              <a:gd name="connsiteY3" fmla="*/ 96441 h 269394"/>
              <a:gd name="connsiteX4" fmla="*/ 235743 w 257756"/>
              <a:gd name="connsiteY4" fmla="*/ 67866 h 269394"/>
              <a:gd name="connsiteX5" fmla="*/ 219074 w 257756"/>
              <a:gd name="connsiteY5" fmla="*/ 41673 h 269394"/>
              <a:gd name="connsiteX6" fmla="*/ 204787 w 257756"/>
              <a:gd name="connsiteY6" fmla="*/ 22623 h 269394"/>
              <a:gd name="connsiteX7" fmla="*/ 183356 w 257756"/>
              <a:gd name="connsiteY7" fmla="*/ 8335 h 269394"/>
              <a:gd name="connsiteX8" fmla="*/ 154781 w 257756"/>
              <a:gd name="connsiteY8" fmla="*/ 1191 h 269394"/>
              <a:gd name="connsiteX9" fmla="*/ 126206 w 257756"/>
              <a:gd name="connsiteY9" fmla="*/ 1191 h 269394"/>
              <a:gd name="connsiteX10" fmla="*/ 88106 w 257756"/>
              <a:gd name="connsiteY10" fmla="*/ 5954 h 269394"/>
              <a:gd name="connsiteX11" fmla="*/ 61912 w 257756"/>
              <a:gd name="connsiteY11" fmla="*/ 20241 h 269394"/>
              <a:gd name="connsiteX12" fmla="*/ 38099 w 257756"/>
              <a:gd name="connsiteY12" fmla="*/ 41673 h 269394"/>
              <a:gd name="connsiteX13" fmla="*/ 16668 w 257756"/>
              <a:gd name="connsiteY13" fmla="*/ 79773 h 269394"/>
              <a:gd name="connsiteX14" fmla="*/ 4762 w 257756"/>
              <a:gd name="connsiteY14" fmla="*/ 120254 h 269394"/>
              <a:gd name="connsiteX15" fmla="*/ 2381 w 257756"/>
              <a:gd name="connsiteY15" fmla="*/ 148829 h 269394"/>
              <a:gd name="connsiteX16" fmla="*/ 2381 w 257756"/>
              <a:gd name="connsiteY16" fmla="*/ 196454 h 269394"/>
              <a:gd name="connsiteX17" fmla="*/ 16668 w 257756"/>
              <a:gd name="connsiteY17" fmla="*/ 217885 h 269394"/>
              <a:gd name="connsiteX18" fmla="*/ 64293 w 257756"/>
              <a:gd name="connsiteY18" fmla="*/ 246460 h 269394"/>
              <a:gd name="connsiteX19" fmla="*/ 128378 w 257756"/>
              <a:gd name="connsiteY19" fmla="*/ 265946 h 269394"/>
              <a:gd name="connsiteX20" fmla="*/ 165534 w 257756"/>
              <a:gd name="connsiteY20" fmla="*/ 267146 h 269394"/>
              <a:gd name="connsiteX21" fmla="*/ 207816 w 257756"/>
              <a:gd name="connsiteY21" fmla="*/ 257064 h 269394"/>
              <a:gd name="connsiteX0" fmla="*/ 207816 w 257756"/>
              <a:gd name="connsiteY0" fmla="*/ 257064 h 269394"/>
              <a:gd name="connsiteX1" fmla="*/ 250031 w 257756"/>
              <a:gd name="connsiteY1" fmla="*/ 222648 h 269394"/>
              <a:gd name="connsiteX2" fmla="*/ 252412 w 257756"/>
              <a:gd name="connsiteY2" fmla="*/ 163116 h 269394"/>
              <a:gd name="connsiteX3" fmla="*/ 245268 w 257756"/>
              <a:gd name="connsiteY3" fmla="*/ 96441 h 269394"/>
              <a:gd name="connsiteX4" fmla="*/ 235743 w 257756"/>
              <a:gd name="connsiteY4" fmla="*/ 67866 h 269394"/>
              <a:gd name="connsiteX5" fmla="*/ 219074 w 257756"/>
              <a:gd name="connsiteY5" fmla="*/ 41673 h 269394"/>
              <a:gd name="connsiteX6" fmla="*/ 204787 w 257756"/>
              <a:gd name="connsiteY6" fmla="*/ 22623 h 269394"/>
              <a:gd name="connsiteX7" fmla="*/ 183356 w 257756"/>
              <a:gd name="connsiteY7" fmla="*/ 8335 h 269394"/>
              <a:gd name="connsiteX8" fmla="*/ 154781 w 257756"/>
              <a:gd name="connsiteY8" fmla="*/ 1191 h 269394"/>
              <a:gd name="connsiteX9" fmla="*/ 126206 w 257756"/>
              <a:gd name="connsiteY9" fmla="*/ 1191 h 269394"/>
              <a:gd name="connsiteX10" fmla="*/ 88106 w 257756"/>
              <a:gd name="connsiteY10" fmla="*/ 5954 h 269394"/>
              <a:gd name="connsiteX11" fmla="*/ 61912 w 257756"/>
              <a:gd name="connsiteY11" fmla="*/ 20241 h 269394"/>
              <a:gd name="connsiteX12" fmla="*/ 38099 w 257756"/>
              <a:gd name="connsiteY12" fmla="*/ 41673 h 269394"/>
              <a:gd name="connsiteX13" fmla="*/ 16668 w 257756"/>
              <a:gd name="connsiteY13" fmla="*/ 79773 h 269394"/>
              <a:gd name="connsiteX14" fmla="*/ 4762 w 257756"/>
              <a:gd name="connsiteY14" fmla="*/ 120254 h 269394"/>
              <a:gd name="connsiteX15" fmla="*/ 2381 w 257756"/>
              <a:gd name="connsiteY15" fmla="*/ 148829 h 269394"/>
              <a:gd name="connsiteX16" fmla="*/ 2381 w 257756"/>
              <a:gd name="connsiteY16" fmla="*/ 196454 h 269394"/>
              <a:gd name="connsiteX17" fmla="*/ 16668 w 257756"/>
              <a:gd name="connsiteY17" fmla="*/ 217885 h 269394"/>
              <a:gd name="connsiteX18" fmla="*/ 64293 w 257756"/>
              <a:gd name="connsiteY18" fmla="*/ 246460 h 269394"/>
              <a:gd name="connsiteX19" fmla="*/ 128378 w 257756"/>
              <a:gd name="connsiteY19" fmla="*/ 265946 h 269394"/>
              <a:gd name="connsiteX20" fmla="*/ 165534 w 257756"/>
              <a:gd name="connsiteY20" fmla="*/ 267146 h 269394"/>
              <a:gd name="connsiteX21" fmla="*/ 207816 w 257756"/>
              <a:gd name="connsiteY21" fmla="*/ 257064 h 269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57756" h="269394">
                <a:moveTo>
                  <a:pt x="207816" y="257064"/>
                </a:moveTo>
                <a:cubicBezTo>
                  <a:pt x="234016" y="240394"/>
                  <a:pt x="235959" y="234120"/>
                  <a:pt x="250031" y="222648"/>
                </a:cubicBezTo>
                <a:cubicBezTo>
                  <a:pt x="257756" y="202804"/>
                  <a:pt x="253161" y="182962"/>
                  <a:pt x="252412" y="163116"/>
                </a:cubicBezTo>
                <a:cubicBezTo>
                  <a:pt x="251618" y="142082"/>
                  <a:pt x="248046" y="112316"/>
                  <a:pt x="245268" y="96441"/>
                </a:cubicBezTo>
                <a:cubicBezTo>
                  <a:pt x="242490" y="80566"/>
                  <a:pt x="240109" y="76994"/>
                  <a:pt x="235743" y="67866"/>
                </a:cubicBezTo>
                <a:cubicBezTo>
                  <a:pt x="231377" y="58738"/>
                  <a:pt x="224233" y="49214"/>
                  <a:pt x="219074" y="41673"/>
                </a:cubicBezTo>
                <a:cubicBezTo>
                  <a:pt x="213915" y="34132"/>
                  <a:pt x="210740" y="28179"/>
                  <a:pt x="204787" y="22623"/>
                </a:cubicBezTo>
                <a:cubicBezTo>
                  <a:pt x="198834" y="17067"/>
                  <a:pt x="191690" y="11907"/>
                  <a:pt x="183356" y="8335"/>
                </a:cubicBezTo>
                <a:cubicBezTo>
                  <a:pt x="175022" y="4763"/>
                  <a:pt x="164306" y="2382"/>
                  <a:pt x="154781" y="1191"/>
                </a:cubicBezTo>
                <a:cubicBezTo>
                  <a:pt x="145256" y="0"/>
                  <a:pt x="137318" y="397"/>
                  <a:pt x="126206" y="1191"/>
                </a:cubicBezTo>
                <a:cubicBezTo>
                  <a:pt x="115094" y="1985"/>
                  <a:pt x="98822" y="2779"/>
                  <a:pt x="88106" y="5954"/>
                </a:cubicBezTo>
                <a:cubicBezTo>
                  <a:pt x="77390" y="9129"/>
                  <a:pt x="70247" y="14288"/>
                  <a:pt x="61912" y="20241"/>
                </a:cubicBezTo>
                <a:cubicBezTo>
                  <a:pt x="53578" y="26194"/>
                  <a:pt x="45640" y="31751"/>
                  <a:pt x="38099" y="41673"/>
                </a:cubicBezTo>
                <a:cubicBezTo>
                  <a:pt x="30558" y="51595"/>
                  <a:pt x="22224" y="66676"/>
                  <a:pt x="16668" y="79773"/>
                </a:cubicBezTo>
                <a:cubicBezTo>
                  <a:pt x="11112" y="92870"/>
                  <a:pt x="7143" y="108745"/>
                  <a:pt x="4762" y="120254"/>
                </a:cubicBezTo>
                <a:cubicBezTo>
                  <a:pt x="2381" y="131763"/>
                  <a:pt x="2778" y="136129"/>
                  <a:pt x="2381" y="148829"/>
                </a:cubicBezTo>
                <a:cubicBezTo>
                  <a:pt x="1984" y="161529"/>
                  <a:pt x="0" y="184945"/>
                  <a:pt x="2381" y="196454"/>
                </a:cubicBezTo>
                <a:cubicBezTo>
                  <a:pt x="4762" y="207963"/>
                  <a:pt x="6349" y="209551"/>
                  <a:pt x="16668" y="217885"/>
                </a:cubicBezTo>
                <a:cubicBezTo>
                  <a:pt x="26987" y="226219"/>
                  <a:pt x="45675" y="238450"/>
                  <a:pt x="64293" y="246460"/>
                </a:cubicBezTo>
                <a:cubicBezTo>
                  <a:pt x="82911" y="254470"/>
                  <a:pt x="111505" y="262498"/>
                  <a:pt x="128378" y="265946"/>
                </a:cubicBezTo>
                <a:cubicBezTo>
                  <a:pt x="145251" y="269394"/>
                  <a:pt x="152294" y="268626"/>
                  <a:pt x="165534" y="267146"/>
                </a:cubicBezTo>
                <a:cubicBezTo>
                  <a:pt x="178774" y="265666"/>
                  <a:pt x="193733" y="264480"/>
                  <a:pt x="207816" y="257064"/>
                </a:cubicBezTo>
                <a:close/>
              </a:path>
            </a:pathLst>
          </a:custGeom>
          <a:gradFill>
            <a:gsLst>
              <a:gs pos="94000">
                <a:schemeClr val="accent3">
                  <a:lumMod val="75000"/>
                </a:schemeClr>
              </a:gs>
              <a:gs pos="80000">
                <a:schemeClr val="accent3">
                  <a:lumMod val="75000"/>
                </a:schemeClr>
              </a:gs>
              <a:gs pos="21000">
                <a:schemeClr val="accent1">
                  <a:tint val="44500"/>
                  <a:satMod val="160000"/>
                </a:schemeClr>
              </a:gs>
              <a:gs pos="21000">
                <a:schemeClr val="accent3">
                  <a:lumMod val="75000"/>
                  <a:alpha val="42000"/>
                </a:schemeClr>
              </a:gs>
              <a:gs pos="86000">
                <a:schemeClr val="tx2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62" name="Freihandform 161"/>
          <p:cNvSpPr>
            <a:spLocks noChangeAspect="1"/>
          </p:cNvSpPr>
          <p:nvPr/>
        </p:nvSpPr>
        <p:spPr>
          <a:xfrm>
            <a:off x="3445473" y="5648946"/>
            <a:ext cx="288000" cy="301003"/>
          </a:xfrm>
          <a:custGeom>
            <a:avLst/>
            <a:gdLst>
              <a:gd name="connsiteX0" fmla="*/ 211931 w 250031"/>
              <a:gd name="connsiteY0" fmla="*/ 276225 h 276225"/>
              <a:gd name="connsiteX1" fmla="*/ 247650 w 250031"/>
              <a:gd name="connsiteY1" fmla="*/ 221457 h 276225"/>
              <a:gd name="connsiteX2" fmla="*/ 250031 w 250031"/>
              <a:gd name="connsiteY2" fmla="*/ 161925 h 276225"/>
              <a:gd name="connsiteX3" fmla="*/ 242887 w 250031"/>
              <a:gd name="connsiteY3" fmla="*/ 95250 h 276225"/>
              <a:gd name="connsiteX4" fmla="*/ 233362 w 250031"/>
              <a:gd name="connsiteY4" fmla="*/ 66675 h 276225"/>
              <a:gd name="connsiteX5" fmla="*/ 216693 w 250031"/>
              <a:gd name="connsiteY5" fmla="*/ 40482 h 276225"/>
              <a:gd name="connsiteX6" fmla="*/ 202406 w 250031"/>
              <a:gd name="connsiteY6" fmla="*/ 21432 h 276225"/>
              <a:gd name="connsiteX7" fmla="*/ 180975 w 250031"/>
              <a:gd name="connsiteY7" fmla="*/ 7144 h 276225"/>
              <a:gd name="connsiteX8" fmla="*/ 152400 w 250031"/>
              <a:gd name="connsiteY8" fmla="*/ 0 h 276225"/>
              <a:gd name="connsiteX9" fmla="*/ 123825 w 250031"/>
              <a:gd name="connsiteY9" fmla="*/ 0 h 276225"/>
              <a:gd name="connsiteX10" fmla="*/ 85725 w 250031"/>
              <a:gd name="connsiteY10" fmla="*/ 4763 h 276225"/>
              <a:gd name="connsiteX11" fmla="*/ 59531 w 250031"/>
              <a:gd name="connsiteY11" fmla="*/ 19050 h 276225"/>
              <a:gd name="connsiteX12" fmla="*/ 35718 w 250031"/>
              <a:gd name="connsiteY12" fmla="*/ 40482 h 276225"/>
              <a:gd name="connsiteX13" fmla="*/ 14287 w 250031"/>
              <a:gd name="connsiteY13" fmla="*/ 78582 h 276225"/>
              <a:gd name="connsiteX14" fmla="*/ 2381 w 250031"/>
              <a:gd name="connsiteY14" fmla="*/ 119063 h 276225"/>
              <a:gd name="connsiteX15" fmla="*/ 0 w 250031"/>
              <a:gd name="connsiteY15" fmla="*/ 147638 h 276225"/>
              <a:gd name="connsiteX16" fmla="*/ 0 w 250031"/>
              <a:gd name="connsiteY16" fmla="*/ 195263 h 276225"/>
              <a:gd name="connsiteX17" fmla="*/ 14287 w 250031"/>
              <a:gd name="connsiteY17" fmla="*/ 216694 h 276225"/>
              <a:gd name="connsiteX18" fmla="*/ 61912 w 250031"/>
              <a:gd name="connsiteY18" fmla="*/ 245269 h 276225"/>
              <a:gd name="connsiteX19" fmla="*/ 109537 w 250031"/>
              <a:gd name="connsiteY19" fmla="*/ 259557 h 276225"/>
              <a:gd name="connsiteX20" fmla="*/ 211931 w 250031"/>
              <a:gd name="connsiteY20" fmla="*/ 276225 h 276225"/>
              <a:gd name="connsiteX0" fmla="*/ 207168 w 250031"/>
              <a:gd name="connsiteY0" fmla="*/ 261937 h 261937"/>
              <a:gd name="connsiteX1" fmla="*/ 247650 w 250031"/>
              <a:gd name="connsiteY1" fmla="*/ 221457 h 261937"/>
              <a:gd name="connsiteX2" fmla="*/ 250031 w 250031"/>
              <a:gd name="connsiteY2" fmla="*/ 161925 h 261937"/>
              <a:gd name="connsiteX3" fmla="*/ 242887 w 250031"/>
              <a:gd name="connsiteY3" fmla="*/ 95250 h 261937"/>
              <a:gd name="connsiteX4" fmla="*/ 233362 w 250031"/>
              <a:gd name="connsiteY4" fmla="*/ 66675 h 261937"/>
              <a:gd name="connsiteX5" fmla="*/ 216693 w 250031"/>
              <a:gd name="connsiteY5" fmla="*/ 40482 h 261937"/>
              <a:gd name="connsiteX6" fmla="*/ 202406 w 250031"/>
              <a:gd name="connsiteY6" fmla="*/ 21432 h 261937"/>
              <a:gd name="connsiteX7" fmla="*/ 180975 w 250031"/>
              <a:gd name="connsiteY7" fmla="*/ 7144 h 261937"/>
              <a:gd name="connsiteX8" fmla="*/ 152400 w 250031"/>
              <a:gd name="connsiteY8" fmla="*/ 0 h 261937"/>
              <a:gd name="connsiteX9" fmla="*/ 123825 w 250031"/>
              <a:gd name="connsiteY9" fmla="*/ 0 h 261937"/>
              <a:gd name="connsiteX10" fmla="*/ 85725 w 250031"/>
              <a:gd name="connsiteY10" fmla="*/ 4763 h 261937"/>
              <a:gd name="connsiteX11" fmla="*/ 59531 w 250031"/>
              <a:gd name="connsiteY11" fmla="*/ 19050 h 261937"/>
              <a:gd name="connsiteX12" fmla="*/ 35718 w 250031"/>
              <a:gd name="connsiteY12" fmla="*/ 40482 h 261937"/>
              <a:gd name="connsiteX13" fmla="*/ 14287 w 250031"/>
              <a:gd name="connsiteY13" fmla="*/ 78582 h 261937"/>
              <a:gd name="connsiteX14" fmla="*/ 2381 w 250031"/>
              <a:gd name="connsiteY14" fmla="*/ 119063 h 261937"/>
              <a:gd name="connsiteX15" fmla="*/ 0 w 250031"/>
              <a:gd name="connsiteY15" fmla="*/ 147638 h 261937"/>
              <a:gd name="connsiteX16" fmla="*/ 0 w 250031"/>
              <a:gd name="connsiteY16" fmla="*/ 195263 h 261937"/>
              <a:gd name="connsiteX17" fmla="*/ 14287 w 250031"/>
              <a:gd name="connsiteY17" fmla="*/ 216694 h 261937"/>
              <a:gd name="connsiteX18" fmla="*/ 61912 w 250031"/>
              <a:gd name="connsiteY18" fmla="*/ 245269 h 261937"/>
              <a:gd name="connsiteX19" fmla="*/ 109537 w 250031"/>
              <a:gd name="connsiteY19" fmla="*/ 259557 h 261937"/>
              <a:gd name="connsiteX20" fmla="*/ 207168 w 250031"/>
              <a:gd name="connsiteY20" fmla="*/ 261937 h 261937"/>
              <a:gd name="connsiteX0" fmla="*/ 205435 w 250031"/>
              <a:gd name="connsiteY0" fmla="*/ 255873 h 259557"/>
              <a:gd name="connsiteX1" fmla="*/ 247650 w 250031"/>
              <a:gd name="connsiteY1" fmla="*/ 221457 h 259557"/>
              <a:gd name="connsiteX2" fmla="*/ 250031 w 250031"/>
              <a:gd name="connsiteY2" fmla="*/ 161925 h 259557"/>
              <a:gd name="connsiteX3" fmla="*/ 242887 w 250031"/>
              <a:gd name="connsiteY3" fmla="*/ 95250 h 259557"/>
              <a:gd name="connsiteX4" fmla="*/ 233362 w 250031"/>
              <a:gd name="connsiteY4" fmla="*/ 66675 h 259557"/>
              <a:gd name="connsiteX5" fmla="*/ 216693 w 250031"/>
              <a:gd name="connsiteY5" fmla="*/ 40482 h 259557"/>
              <a:gd name="connsiteX6" fmla="*/ 202406 w 250031"/>
              <a:gd name="connsiteY6" fmla="*/ 21432 h 259557"/>
              <a:gd name="connsiteX7" fmla="*/ 180975 w 250031"/>
              <a:gd name="connsiteY7" fmla="*/ 7144 h 259557"/>
              <a:gd name="connsiteX8" fmla="*/ 152400 w 250031"/>
              <a:gd name="connsiteY8" fmla="*/ 0 h 259557"/>
              <a:gd name="connsiteX9" fmla="*/ 123825 w 250031"/>
              <a:gd name="connsiteY9" fmla="*/ 0 h 259557"/>
              <a:gd name="connsiteX10" fmla="*/ 85725 w 250031"/>
              <a:gd name="connsiteY10" fmla="*/ 4763 h 259557"/>
              <a:gd name="connsiteX11" fmla="*/ 59531 w 250031"/>
              <a:gd name="connsiteY11" fmla="*/ 19050 h 259557"/>
              <a:gd name="connsiteX12" fmla="*/ 35718 w 250031"/>
              <a:gd name="connsiteY12" fmla="*/ 40482 h 259557"/>
              <a:gd name="connsiteX13" fmla="*/ 14287 w 250031"/>
              <a:gd name="connsiteY13" fmla="*/ 78582 h 259557"/>
              <a:gd name="connsiteX14" fmla="*/ 2381 w 250031"/>
              <a:gd name="connsiteY14" fmla="*/ 119063 h 259557"/>
              <a:gd name="connsiteX15" fmla="*/ 0 w 250031"/>
              <a:gd name="connsiteY15" fmla="*/ 147638 h 259557"/>
              <a:gd name="connsiteX16" fmla="*/ 0 w 250031"/>
              <a:gd name="connsiteY16" fmla="*/ 195263 h 259557"/>
              <a:gd name="connsiteX17" fmla="*/ 14287 w 250031"/>
              <a:gd name="connsiteY17" fmla="*/ 216694 h 259557"/>
              <a:gd name="connsiteX18" fmla="*/ 61912 w 250031"/>
              <a:gd name="connsiteY18" fmla="*/ 245269 h 259557"/>
              <a:gd name="connsiteX19" fmla="*/ 109537 w 250031"/>
              <a:gd name="connsiteY19" fmla="*/ 259557 h 259557"/>
              <a:gd name="connsiteX20" fmla="*/ 205435 w 250031"/>
              <a:gd name="connsiteY20" fmla="*/ 255873 h 259557"/>
              <a:gd name="connsiteX0" fmla="*/ 205435 w 250031"/>
              <a:gd name="connsiteY0" fmla="*/ 255873 h 264031"/>
              <a:gd name="connsiteX1" fmla="*/ 247650 w 250031"/>
              <a:gd name="connsiteY1" fmla="*/ 221457 h 264031"/>
              <a:gd name="connsiteX2" fmla="*/ 250031 w 250031"/>
              <a:gd name="connsiteY2" fmla="*/ 161925 h 264031"/>
              <a:gd name="connsiteX3" fmla="*/ 242887 w 250031"/>
              <a:gd name="connsiteY3" fmla="*/ 95250 h 264031"/>
              <a:gd name="connsiteX4" fmla="*/ 233362 w 250031"/>
              <a:gd name="connsiteY4" fmla="*/ 66675 h 264031"/>
              <a:gd name="connsiteX5" fmla="*/ 216693 w 250031"/>
              <a:gd name="connsiteY5" fmla="*/ 40482 h 264031"/>
              <a:gd name="connsiteX6" fmla="*/ 202406 w 250031"/>
              <a:gd name="connsiteY6" fmla="*/ 21432 h 264031"/>
              <a:gd name="connsiteX7" fmla="*/ 180975 w 250031"/>
              <a:gd name="connsiteY7" fmla="*/ 7144 h 264031"/>
              <a:gd name="connsiteX8" fmla="*/ 152400 w 250031"/>
              <a:gd name="connsiteY8" fmla="*/ 0 h 264031"/>
              <a:gd name="connsiteX9" fmla="*/ 123825 w 250031"/>
              <a:gd name="connsiteY9" fmla="*/ 0 h 264031"/>
              <a:gd name="connsiteX10" fmla="*/ 85725 w 250031"/>
              <a:gd name="connsiteY10" fmla="*/ 4763 h 264031"/>
              <a:gd name="connsiteX11" fmla="*/ 59531 w 250031"/>
              <a:gd name="connsiteY11" fmla="*/ 19050 h 264031"/>
              <a:gd name="connsiteX12" fmla="*/ 35718 w 250031"/>
              <a:gd name="connsiteY12" fmla="*/ 40482 h 264031"/>
              <a:gd name="connsiteX13" fmla="*/ 14287 w 250031"/>
              <a:gd name="connsiteY13" fmla="*/ 78582 h 264031"/>
              <a:gd name="connsiteX14" fmla="*/ 2381 w 250031"/>
              <a:gd name="connsiteY14" fmla="*/ 119063 h 264031"/>
              <a:gd name="connsiteX15" fmla="*/ 0 w 250031"/>
              <a:gd name="connsiteY15" fmla="*/ 147638 h 264031"/>
              <a:gd name="connsiteX16" fmla="*/ 0 w 250031"/>
              <a:gd name="connsiteY16" fmla="*/ 195263 h 264031"/>
              <a:gd name="connsiteX17" fmla="*/ 14287 w 250031"/>
              <a:gd name="connsiteY17" fmla="*/ 216694 h 264031"/>
              <a:gd name="connsiteX18" fmla="*/ 61912 w 250031"/>
              <a:gd name="connsiteY18" fmla="*/ 245269 h 264031"/>
              <a:gd name="connsiteX19" fmla="*/ 109537 w 250031"/>
              <a:gd name="connsiteY19" fmla="*/ 259557 h 264031"/>
              <a:gd name="connsiteX20" fmla="*/ 205435 w 250031"/>
              <a:gd name="connsiteY20" fmla="*/ 255873 h 264031"/>
              <a:gd name="connsiteX0" fmla="*/ 205435 w 250031"/>
              <a:gd name="connsiteY0" fmla="*/ 255873 h 264031"/>
              <a:gd name="connsiteX1" fmla="*/ 247650 w 250031"/>
              <a:gd name="connsiteY1" fmla="*/ 221457 h 264031"/>
              <a:gd name="connsiteX2" fmla="*/ 250031 w 250031"/>
              <a:gd name="connsiteY2" fmla="*/ 161925 h 264031"/>
              <a:gd name="connsiteX3" fmla="*/ 242887 w 250031"/>
              <a:gd name="connsiteY3" fmla="*/ 95250 h 264031"/>
              <a:gd name="connsiteX4" fmla="*/ 233362 w 250031"/>
              <a:gd name="connsiteY4" fmla="*/ 66675 h 264031"/>
              <a:gd name="connsiteX5" fmla="*/ 216693 w 250031"/>
              <a:gd name="connsiteY5" fmla="*/ 40482 h 264031"/>
              <a:gd name="connsiteX6" fmla="*/ 202406 w 250031"/>
              <a:gd name="connsiteY6" fmla="*/ 21432 h 264031"/>
              <a:gd name="connsiteX7" fmla="*/ 180975 w 250031"/>
              <a:gd name="connsiteY7" fmla="*/ 7144 h 264031"/>
              <a:gd name="connsiteX8" fmla="*/ 152400 w 250031"/>
              <a:gd name="connsiteY8" fmla="*/ 0 h 264031"/>
              <a:gd name="connsiteX9" fmla="*/ 123825 w 250031"/>
              <a:gd name="connsiteY9" fmla="*/ 0 h 264031"/>
              <a:gd name="connsiteX10" fmla="*/ 85725 w 250031"/>
              <a:gd name="connsiteY10" fmla="*/ 4763 h 264031"/>
              <a:gd name="connsiteX11" fmla="*/ 59531 w 250031"/>
              <a:gd name="connsiteY11" fmla="*/ 19050 h 264031"/>
              <a:gd name="connsiteX12" fmla="*/ 35718 w 250031"/>
              <a:gd name="connsiteY12" fmla="*/ 40482 h 264031"/>
              <a:gd name="connsiteX13" fmla="*/ 14287 w 250031"/>
              <a:gd name="connsiteY13" fmla="*/ 78582 h 264031"/>
              <a:gd name="connsiteX14" fmla="*/ 2381 w 250031"/>
              <a:gd name="connsiteY14" fmla="*/ 119063 h 264031"/>
              <a:gd name="connsiteX15" fmla="*/ 0 w 250031"/>
              <a:gd name="connsiteY15" fmla="*/ 147638 h 264031"/>
              <a:gd name="connsiteX16" fmla="*/ 0 w 250031"/>
              <a:gd name="connsiteY16" fmla="*/ 195263 h 264031"/>
              <a:gd name="connsiteX17" fmla="*/ 14287 w 250031"/>
              <a:gd name="connsiteY17" fmla="*/ 216694 h 264031"/>
              <a:gd name="connsiteX18" fmla="*/ 61912 w 250031"/>
              <a:gd name="connsiteY18" fmla="*/ 245269 h 264031"/>
              <a:gd name="connsiteX19" fmla="*/ 109537 w 250031"/>
              <a:gd name="connsiteY19" fmla="*/ 259557 h 264031"/>
              <a:gd name="connsiteX20" fmla="*/ 205435 w 250031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74323"/>
              <a:gd name="connsiteX1" fmla="*/ 250031 w 257756"/>
              <a:gd name="connsiteY1" fmla="*/ 222648 h 274323"/>
              <a:gd name="connsiteX2" fmla="*/ 252412 w 257756"/>
              <a:gd name="connsiteY2" fmla="*/ 163116 h 274323"/>
              <a:gd name="connsiteX3" fmla="*/ 245268 w 257756"/>
              <a:gd name="connsiteY3" fmla="*/ 96441 h 274323"/>
              <a:gd name="connsiteX4" fmla="*/ 235743 w 257756"/>
              <a:gd name="connsiteY4" fmla="*/ 67866 h 274323"/>
              <a:gd name="connsiteX5" fmla="*/ 219074 w 257756"/>
              <a:gd name="connsiteY5" fmla="*/ 41673 h 274323"/>
              <a:gd name="connsiteX6" fmla="*/ 204787 w 257756"/>
              <a:gd name="connsiteY6" fmla="*/ 22623 h 274323"/>
              <a:gd name="connsiteX7" fmla="*/ 183356 w 257756"/>
              <a:gd name="connsiteY7" fmla="*/ 8335 h 274323"/>
              <a:gd name="connsiteX8" fmla="*/ 154781 w 257756"/>
              <a:gd name="connsiteY8" fmla="*/ 1191 h 274323"/>
              <a:gd name="connsiteX9" fmla="*/ 126206 w 257756"/>
              <a:gd name="connsiteY9" fmla="*/ 1191 h 274323"/>
              <a:gd name="connsiteX10" fmla="*/ 88106 w 257756"/>
              <a:gd name="connsiteY10" fmla="*/ 5954 h 274323"/>
              <a:gd name="connsiteX11" fmla="*/ 61912 w 257756"/>
              <a:gd name="connsiteY11" fmla="*/ 20241 h 274323"/>
              <a:gd name="connsiteX12" fmla="*/ 38099 w 257756"/>
              <a:gd name="connsiteY12" fmla="*/ 41673 h 274323"/>
              <a:gd name="connsiteX13" fmla="*/ 16668 w 257756"/>
              <a:gd name="connsiteY13" fmla="*/ 79773 h 274323"/>
              <a:gd name="connsiteX14" fmla="*/ 4762 w 257756"/>
              <a:gd name="connsiteY14" fmla="*/ 120254 h 274323"/>
              <a:gd name="connsiteX15" fmla="*/ 2381 w 257756"/>
              <a:gd name="connsiteY15" fmla="*/ 148829 h 274323"/>
              <a:gd name="connsiteX16" fmla="*/ 2381 w 257756"/>
              <a:gd name="connsiteY16" fmla="*/ 196454 h 274323"/>
              <a:gd name="connsiteX17" fmla="*/ 16668 w 257756"/>
              <a:gd name="connsiteY17" fmla="*/ 217885 h 274323"/>
              <a:gd name="connsiteX18" fmla="*/ 64293 w 257756"/>
              <a:gd name="connsiteY18" fmla="*/ 246460 h 274323"/>
              <a:gd name="connsiteX19" fmla="*/ 111918 w 257756"/>
              <a:gd name="connsiteY19" fmla="*/ 260748 h 274323"/>
              <a:gd name="connsiteX20" fmla="*/ 207816 w 257756"/>
              <a:gd name="connsiteY20" fmla="*/ 257064 h 274323"/>
              <a:gd name="connsiteX0" fmla="*/ 207816 w 257756"/>
              <a:gd name="connsiteY0" fmla="*/ 257064 h 274323"/>
              <a:gd name="connsiteX1" fmla="*/ 250031 w 257756"/>
              <a:gd name="connsiteY1" fmla="*/ 222648 h 274323"/>
              <a:gd name="connsiteX2" fmla="*/ 252412 w 257756"/>
              <a:gd name="connsiteY2" fmla="*/ 163116 h 274323"/>
              <a:gd name="connsiteX3" fmla="*/ 245268 w 257756"/>
              <a:gd name="connsiteY3" fmla="*/ 96441 h 274323"/>
              <a:gd name="connsiteX4" fmla="*/ 235743 w 257756"/>
              <a:gd name="connsiteY4" fmla="*/ 67866 h 274323"/>
              <a:gd name="connsiteX5" fmla="*/ 219074 w 257756"/>
              <a:gd name="connsiteY5" fmla="*/ 41673 h 274323"/>
              <a:gd name="connsiteX6" fmla="*/ 204787 w 257756"/>
              <a:gd name="connsiteY6" fmla="*/ 22623 h 274323"/>
              <a:gd name="connsiteX7" fmla="*/ 183356 w 257756"/>
              <a:gd name="connsiteY7" fmla="*/ 8335 h 274323"/>
              <a:gd name="connsiteX8" fmla="*/ 154781 w 257756"/>
              <a:gd name="connsiteY8" fmla="*/ 1191 h 274323"/>
              <a:gd name="connsiteX9" fmla="*/ 126206 w 257756"/>
              <a:gd name="connsiteY9" fmla="*/ 1191 h 274323"/>
              <a:gd name="connsiteX10" fmla="*/ 88106 w 257756"/>
              <a:gd name="connsiteY10" fmla="*/ 5954 h 274323"/>
              <a:gd name="connsiteX11" fmla="*/ 61912 w 257756"/>
              <a:gd name="connsiteY11" fmla="*/ 20241 h 274323"/>
              <a:gd name="connsiteX12" fmla="*/ 38099 w 257756"/>
              <a:gd name="connsiteY12" fmla="*/ 41673 h 274323"/>
              <a:gd name="connsiteX13" fmla="*/ 16668 w 257756"/>
              <a:gd name="connsiteY13" fmla="*/ 79773 h 274323"/>
              <a:gd name="connsiteX14" fmla="*/ 4762 w 257756"/>
              <a:gd name="connsiteY14" fmla="*/ 120254 h 274323"/>
              <a:gd name="connsiteX15" fmla="*/ 2381 w 257756"/>
              <a:gd name="connsiteY15" fmla="*/ 148829 h 274323"/>
              <a:gd name="connsiteX16" fmla="*/ 2381 w 257756"/>
              <a:gd name="connsiteY16" fmla="*/ 196454 h 274323"/>
              <a:gd name="connsiteX17" fmla="*/ 16668 w 257756"/>
              <a:gd name="connsiteY17" fmla="*/ 217885 h 274323"/>
              <a:gd name="connsiteX18" fmla="*/ 64293 w 257756"/>
              <a:gd name="connsiteY18" fmla="*/ 246460 h 274323"/>
              <a:gd name="connsiteX19" fmla="*/ 128378 w 257756"/>
              <a:gd name="connsiteY19" fmla="*/ 265946 h 274323"/>
              <a:gd name="connsiteX20" fmla="*/ 207816 w 257756"/>
              <a:gd name="connsiteY20" fmla="*/ 257064 h 274323"/>
              <a:gd name="connsiteX0" fmla="*/ 207816 w 257756"/>
              <a:gd name="connsiteY0" fmla="*/ 257064 h 269394"/>
              <a:gd name="connsiteX1" fmla="*/ 250031 w 257756"/>
              <a:gd name="connsiteY1" fmla="*/ 222648 h 269394"/>
              <a:gd name="connsiteX2" fmla="*/ 252412 w 257756"/>
              <a:gd name="connsiteY2" fmla="*/ 163116 h 269394"/>
              <a:gd name="connsiteX3" fmla="*/ 245268 w 257756"/>
              <a:gd name="connsiteY3" fmla="*/ 96441 h 269394"/>
              <a:gd name="connsiteX4" fmla="*/ 235743 w 257756"/>
              <a:gd name="connsiteY4" fmla="*/ 67866 h 269394"/>
              <a:gd name="connsiteX5" fmla="*/ 219074 w 257756"/>
              <a:gd name="connsiteY5" fmla="*/ 41673 h 269394"/>
              <a:gd name="connsiteX6" fmla="*/ 204787 w 257756"/>
              <a:gd name="connsiteY6" fmla="*/ 22623 h 269394"/>
              <a:gd name="connsiteX7" fmla="*/ 183356 w 257756"/>
              <a:gd name="connsiteY7" fmla="*/ 8335 h 269394"/>
              <a:gd name="connsiteX8" fmla="*/ 154781 w 257756"/>
              <a:gd name="connsiteY8" fmla="*/ 1191 h 269394"/>
              <a:gd name="connsiteX9" fmla="*/ 126206 w 257756"/>
              <a:gd name="connsiteY9" fmla="*/ 1191 h 269394"/>
              <a:gd name="connsiteX10" fmla="*/ 88106 w 257756"/>
              <a:gd name="connsiteY10" fmla="*/ 5954 h 269394"/>
              <a:gd name="connsiteX11" fmla="*/ 61912 w 257756"/>
              <a:gd name="connsiteY11" fmla="*/ 20241 h 269394"/>
              <a:gd name="connsiteX12" fmla="*/ 38099 w 257756"/>
              <a:gd name="connsiteY12" fmla="*/ 41673 h 269394"/>
              <a:gd name="connsiteX13" fmla="*/ 16668 w 257756"/>
              <a:gd name="connsiteY13" fmla="*/ 79773 h 269394"/>
              <a:gd name="connsiteX14" fmla="*/ 4762 w 257756"/>
              <a:gd name="connsiteY14" fmla="*/ 120254 h 269394"/>
              <a:gd name="connsiteX15" fmla="*/ 2381 w 257756"/>
              <a:gd name="connsiteY15" fmla="*/ 148829 h 269394"/>
              <a:gd name="connsiteX16" fmla="*/ 2381 w 257756"/>
              <a:gd name="connsiteY16" fmla="*/ 196454 h 269394"/>
              <a:gd name="connsiteX17" fmla="*/ 16668 w 257756"/>
              <a:gd name="connsiteY17" fmla="*/ 217885 h 269394"/>
              <a:gd name="connsiteX18" fmla="*/ 64293 w 257756"/>
              <a:gd name="connsiteY18" fmla="*/ 246460 h 269394"/>
              <a:gd name="connsiteX19" fmla="*/ 128378 w 257756"/>
              <a:gd name="connsiteY19" fmla="*/ 265946 h 269394"/>
              <a:gd name="connsiteX20" fmla="*/ 165534 w 257756"/>
              <a:gd name="connsiteY20" fmla="*/ 267146 h 269394"/>
              <a:gd name="connsiteX21" fmla="*/ 207816 w 257756"/>
              <a:gd name="connsiteY21" fmla="*/ 257064 h 269394"/>
              <a:gd name="connsiteX0" fmla="*/ 207816 w 257756"/>
              <a:gd name="connsiteY0" fmla="*/ 257064 h 269394"/>
              <a:gd name="connsiteX1" fmla="*/ 250031 w 257756"/>
              <a:gd name="connsiteY1" fmla="*/ 222648 h 269394"/>
              <a:gd name="connsiteX2" fmla="*/ 252412 w 257756"/>
              <a:gd name="connsiteY2" fmla="*/ 163116 h 269394"/>
              <a:gd name="connsiteX3" fmla="*/ 245268 w 257756"/>
              <a:gd name="connsiteY3" fmla="*/ 96441 h 269394"/>
              <a:gd name="connsiteX4" fmla="*/ 235743 w 257756"/>
              <a:gd name="connsiteY4" fmla="*/ 67866 h 269394"/>
              <a:gd name="connsiteX5" fmla="*/ 219074 w 257756"/>
              <a:gd name="connsiteY5" fmla="*/ 41673 h 269394"/>
              <a:gd name="connsiteX6" fmla="*/ 204787 w 257756"/>
              <a:gd name="connsiteY6" fmla="*/ 22623 h 269394"/>
              <a:gd name="connsiteX7" fmla="*/ 183356 w 257756"/>
              <a:gd name="connsiteY7" fmla="*/ 8335 h 269394"/>
              <a:gd name="connsiteX8" fmla="*/ 154781 w 257756"/>
              <a:gd name="connsiteY8" fmla="*/ 1191 h 269394"/>
              <a:gd name="connsiteX9" fmla="*/ 126206 w 257756"/>
              <a:gd name="connsiteY9" fmla="*/ 1191 h 269394"/>
              <a:gd name="connsiteX10" fmla="*/ 88106 w 257756"/>
              <a:gd name="connsiteY10" fmla="*/ 5954 h 269394"/>
              <a:gd name="connsiteX11" fmla="*/ 61912 w 257756"/>
              <a:gd name="connsiteY11" fmla="*/ 20241 h 269394"/>
              <a:gd name="connsiteX12" fmla="*/ 38099 w 257756"/>
              <a:gd name="connsiteY12" fmla="*/ 41673 h 269394"/>
              <a:gd name="connsiteX13" fmla="*/ 16668 w 257756"/>
              <a:gd name="connsiteY13" fmla="*/ 79773 h 269394"/>
              <a:gd name="connsiteX14" fmla="*/ 4762 w 257756"/>
              <a:gd name="connsiteY14" fmla="*/ 120254 h 269394"/>
              <a:gd name="connsiteX15" fmla="*/ 2381 w 257756"/>
              <a:gd name="connsiteY15" fmla="*/ 148829 h 269394"/>
              <a:gd name="connsiteX16" fmla="*/ 2381 w 257756"/>
              <a:gd name="connsiteY16" fmla="*/ 196454 h 269394"/>
              <a:gd name="connsiteX17" fmla="*/ 16668 w 257756"/>
              <a:gd name="connsiteY17" fmla="*/ 217885 h 269394"/>
              <a:gd name="connsiteX18" fmla="*/ 64293 w 257756"/>
              <a:gd name="connsiteY18" fmla="*/ 246460 h 269394"/>
              <a:gd name="connsiteX19" fmla="*/ 128378 w 257756"/>
              <a:gd name="connsiteY19" fmla="*/ 265946 h 269394"/>
              <a:gd name="connsiteX20" fmla="*/ 165534 w 257756"/>
              <a:gd name="connsiteY20" fmla="*/ 267146 h 269394"/>
              <a:gd name="connsiteX21" fmla="*/ 207816 w 257756"/>
              <a:gd name="connsiteY21" fmla="*/ 257064 h 269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57756" h="269394">
                <a:moveTo>
                  <a:pt x="207816" y="257064"/>
                </a:moveTo>
                <a:cubicBezTo>
                  <a:pt x="234016" y="240394"/>
                  <a:pt x="235959" y="234120"/>
                  <a:pt x="250031" y="222648"/>
                </a:cubicBezTo>
                <a:cubicBezTo>
                  <a:pt x="257756" y="202804"/>
                  <a:pt x="253161" y="182962"/>
                  <a:pt x="252412" y="163116"/>
                </a:cubicBezTo>
                <a:cubicBezTo>
                  <a:pt x="251618" y="142082"/>
                  <a:pt x="248046" y="112316"/>
                  <a:pt x="245268" y="96441"/>
                </a:cubicBezTo>
                <a:cubicBezTo>
                  <a:pt x="242490" y="80566"/>
                  <a:pt x="240109" y="76994"/>
                  <a:pt x="235743" y="67866"/>
                </a:cubicBezTo>
                <a:cubicBezTo>
                  <a:pt x="231377" y="58738"/>
                  <a:pt x="224233" y="49214"/>
                  <a:pt x="219074" y="41673"/>
                </a:cubicBezTo>
                <a:cubicBezTo>
                  <a:pt x="213915" y="34132"/>
                  <a:pt x="210740" y="28179"/>
                  <a:pt x="204787" y="22623"/>
                </a:cubicBezTo>
                <a:cubicBezTo>
                  <a:pt x="198834" y="17067"/>
                  <a:pt x="191690" y="11907"/>
                  <a:pt x="183356" y="8335"/>
                </a:cubicBezTo>
                <a:cubicBezTo>
                  <a:pt x="175022" y="4763"/>
                  <a:pt x="164306" y="2382"/>
                  <a:pt x="154781" y="1191"/>
                </a:cubicBezTo>
                <a:cubicBezTo>
                  <a:pt x="145256" y="0"/>
                  <a:pt x="137318" y="397"/>
                  <a:pt x="126206" y="1191"/>
                </a:cubicBezTo>
                <a:cubicBezTo>
                  <a:pt x="115094" y="1985"/>
                  <a:pt x="98822" y="2779"/>
                  <a:pt x="88106" y="5954"/>
                </a:cubicBezTo>
                <a:cubicBezTo>
                  <a:pt x="77390" y="9129"/>
                  <a:pt x="70247" y="14288"/>
                  <a:pt x="61912" y="20241"/>
                </a:cubicBezTo>
                <a:cubicBezTo>
                  <a:pt x="53578" y="26194"/>
                  <a:pt x="45640" y="31751"/>
                  <a:pt x="38099" y="41673"/>
                </a:cubicBezTo>
                <a:cubicBezTo>
                  <a:pt x="30558" y="51595"/>
                  <a:pt x="22224" y="66676"/>
                  <a:pt x="16668" y="79773"/>
                </a:cubicBezTo>
                <a:cubicBezTo>
                  <a:pt x="11112" y="92870"/>
                  <a:pt x="7143" y="108745"/>
                  <a:pt x="4762" y="120254"/>
                </a:cubicBezTo>
                <a:cubicBezTo>
                  <a:pt x="2381" y="131763"/>
                  <a:pt x="2778" y="136129"/>
                  <a:pt x="2381" y="148829"/>
                </a:cubicBezTo>
                <a:cubicBezTo>
                  <a:pt x="1984" y="161529"/>
                  <a:pt x="0" y="184945"/>
                  <a:pt x="2381" y="196454"/>
                </a:cubicBezTo>
                <a:cubicBezTo>
                  <a:pt x="4762" y="207963"/>
                  <a:pt x="6349" y="209551"/>
                  <a:pt x="16668" y="217885"/>
                </a:cubicBezTo>
                <a:cubicBezTo>
                  <a:pt x="26987" y="226219"/>
                  <a:pt x="45675" y="238450"/>
                  <a:pt x="64293" y="246460"/>
                </a:cubicBezTo>
                <a:cubicBezTo>
                  <a:pt x="82911" y="254470"/>
                  <a:pt x="111505" y="262498"/>
                  <a:pt x="128378" y="265946"/>
                </a:cubicBezTo>
                <a:cubicBezTo>
                  <a:pt x="145251" y="269394"/>
                  <a:pt x="152294" y="268626"/>
                  <a:pt x="165534" y="267146"/>
                </a:cubicBezTo>
                <a:cubicBezTo>
                  <a:pt x="178774" y="265666"/>
                  <a:pt x="193733" y="264480"/>
                  <a:pt x="207816" y="257064"/>
                </a:cubicBezTo>
                <a:close/>
              </a:path>
            </a:pathLst>
          </a:custGeom>
          <a:gradFill flip="none" rotWithShape="1">
            <a:gsLst>
              <a:gs pos="70000">
                <a:schemeClr val="tx2">
                  <a:lumMod val="75000"/>
                </a:schemeClr>
              </a:gs>
              <a:gs pos="21000">
                <a:schemeClr val="accent1">
                  <a:tint val="44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46" name="Ellipse 145"/>
          <p:cNvSpPr/>
          <p:nvPr/>
        </p:nvSpPr>
        <p:spPr>
          <a:xfrm>
            <a:off x="3491783" y="5479256"/>
            <a:ext cx="198487" cy="198486"/>
          </a:xfrm>
          <a:prstGeom prst="ellipse">
            <a:avLst/>
          </a:prstGeom>
          <a:gradFill flip="none" rotWithShape="1">
            <a:gsLst>
              <a:gs pos="46000">
                <a:schemeClr val="tx2">
                  <a:lumMod val="75000"/>
                  <a:alpha val="83000"/>
                </a:schemeClr>
              </a:gs>
              <a:gs pos="21000">
                <a:schemeClr val="accent1">
                  <a:tint val="44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63" name="Freihandform 162"/>
          <p:cNvSpPr>
            <a:spLocks noChangeAspect="1"/>
          </p:cNvSpPr>
          <p:nvPr/>
        </p:nvSpPr>
        <p:spPr>
          <a:xfrm>
            <a:off x="2673813" y="5658471"/>
            <a:ext cx="288000" cy="301003"/>
          </a:xfrm>
          <a:custGeom>
            <a:avLst/>
            <a:gdLst>
              <a:gd name="connsiteX0" fmla="*/ 211931 w 250031"/>
              <a:gd name="connsiteY0" fmla="*/ 276225 h 276225"/>
              <a:gd name="connsiteX1" fmla="*/ 247650 w 250031"/>
              <a:gd name="connsiteY1" fmla="*/ 221457 h 276225"/>
              <a:gd name="connsiteX2" fmla="*/ 250031 w 250031"/>
              <a:gd name="connsiteY2" fmla="*/ 161925 h 276225"/>
              <a:gd name="connsiteX3" fmla="*/ 242887 w 250031"/>
              <a:gd name="connsiteY3" fmla="*/ 95250 h 276225"/>
              <a:gd name="connsiteX4" fmla="*/ 233362 w 250031"/>
              <a:gd name="connsiteY4" fmla="*/ 66675 h 276225"/>
              <a:gd name="connsiteX5" fmla="*/ 216693 w 250031"/>
              <a:gd name="connsiteY5" fmla="*/ 40482 h 276225"/>
              <a:gd name="connsiteX6" fmla="*/ 202406 w 250031"/>
              <a:gd name="connsiteY6" fmla="*/ 21432 h 276225"/>
              <a:gd name="connsiteX7" fmla="*/ 180975 w 250031"/>
              <a:gd name="connsiteY7" fmla="*/ 7144 h 276225"/>
              <a:gd name="connsiteX8" fmla="*/ 152400 w 250031"/>
              <a:gd name="connsiteY8" fmla="*/ 0 h 276225"/>
              <a:gd name="connsiteX9" fmla="*/ 123825 w 250031"/>
              <a:gd name="connsiteY9" fmla="*/ 0 h 276225"/>
              <a:gd name="connsiteX10" fmla="*/ 85725 w 250031"/>
              <a:gd name="connsiteY10" fmla="*/ 4763 h 276225"/>
              <a:gd name="connsiteX11" fmla="*/ 59531 w 250031"/>
              <a:gd name="connsiteY11" fmla="*/ 19050 h 276225"/>
              <a:gd name="connsiteX12" fmla="*/ 35718 w 250031"/>
              <a:gd name="connsiteY12" fmla="*/ 40482 h 276225"/>
              <a:gd name="connsiteX13" fmla="*/ 14287 w 250031"/>
              <a:gd name="connsiteY13" fmla="*/ 78582 h 276225"/>
              <a:gd name="connsiteX14" fmla="*/ 2381 w 250031"/>
              <a:gd name="connsiteY14" fmla="*/ 119063 h 276225"/>
              <a:gd name="connsiteX15" fmla="*/ 0 w 250031"/>
              <a:gd name="connsiteY15" fmla="*/ 147638 h 276225"/>
              <a:gd name="connsiteX16" fmla="*/ 0 w 250031"/>
              <a:gd name="connsiteY16" fmla="*/ 195263 h 276225"/>
              <a:gd name="connsiteX17" fmla="*/ 14287 w 250031"/>
              <a:gd name="connsiteY17" fmla="*/ 216694 h 276225"/>
              <a:gd name="connsiteX18" fmla="*/ 61912 w 250031"/>
              <a:gd name="connsiteY18" fmla="*/ 245269 h 276225"/>
              <a:gd name="connsiteX19" fmla="*/ 109537 w 250031"/>
              <a:gd name="connsiteY19" fmla="*/ 259557 h 276225"/>
              <a:gd name="connsiteX20" fmla="*/ 211931 w 250031"/>
              <a:gd name="connsiteY20" fmla="*/ 276225 h 276225"/>
              <a:gd name="connsiteX0" fmla="*/ 207168 w 250031"/>
              <a:gd name="connsiteY0" fmla="*/ 261937 h 261937"/>
              <a:gd name="connsiteX1" fmla="*/ 247650 w 250031"/>
              <a:gd name="connsiteY1" fmla="*/ 221457 h 261937"/>
              <a:gd name="connsiteX2" fmla="*/ 250031 w 250031"/>
              <a:gd name="connsiteY2" fmla="*/ 161925 h 261937"/>
              <a:gd name="connsiteX3" fmla="*/ 242887 w 250031"/>
              <a:gd name="connsiteY3" fmla="*/ 95250 h 261937"/>
              <a:gd name="connsiteX4" fmla="*/ 233362 w 250031"/>
              <a:gd name="connsiteY4" fmla="*/ 66675 h 261937"/>
              <a:gd name="connsiteX5" fmla="*/ 216693 w 250031"/>
              <a:gd name="connsiteY5" fmla="*/ 40482 h 261937"/>
              <a:gd name="connsiteX6" fmla="*/ 202406 w 250031"/>
              <a:gd name="connsiteY6" fmla="*/ 21432 h 261937"/>
              <a:gd name="connsiteX7" fmla="*/ 180975 w 250031"/>
              <a:gd name="connsiteY7" fmla="*/ 7144 h 261937"/>
              <a:gd name="connsiteX8" fmla="*/ 152400 w 250031"/>
              <a:gd name="connsiteY8" fmla="*/ 0 h 261937"/>
              <a:gd name="connsiteX9" fmla="*/ 123825 w 250031"/>
              <a:gd name="connsiteY9" fmla="*/ 0 h 261937"/>
              <a:gd name="connsiteX10" fmla="*/ 85725 w 250031"/>
              <a:gd name="connsiteY10" fmla="*/ 4763 h 261937"/>
              <a:gd name="connsiteX11" fmla="*/ 59531 w 250031"/>
              <a:gd name="connsiteY11" fmla="*/ 19050 h 261937"/>
              <a:gd name="connsiteX12" fmla="*/ 35718 w 250031"/>
              <a:gd name="connsiteY12" fmla="*/ 40482 h 261937"/>
              <a:gd name="connsiteX13" fmla="*/ 14287 w 250031"/>
              <a:gd name="connsiteY13" fmla="*/ 78582 h 261937"/>
              <a:gd name="connsiteX14" fmla="*/ 2381 w 250031"/>
              <a:gd name="connsiteY14" fmla="*/ 119063 h 261937"/>
              <a:gd name="connsiteX15" fmla="*/ 0 w 250031"/>
              <a:gd name="connsiteY15" fmla="*/ 147638 h 261937"/>
              <a:gd name="connsiteX16" fmla="*/ 0 w 250031"/>
              <a:gd name="connsiteY16" fmla="*/ 195263 h 261937"/>
              <a:gd name="connsiteX17" fmla="*/ 14287 w 250031"/>
              <a:gd name="connsiteY17" fmla="*/ 216694 h 261937"/>
              <a:gd name="connsiteX18" fmla="*/ 61912 w 250031"/>
              <a:gd name="connsiteY18" fmla="*/ 245269 h 261937"/>
              <a:gd name="connsiteX19" fmla="*/ 109537 w 250031"/>
              <a:gd name="connsiteY19" fmla="*/ 259557 h 261937"/>
              <a:gd name="connsiteX20" fmla="*/ 207168 w 250031"/>
              <a:gd name="connsiteY20" fmla="*/ 261937 h 261937"/>
              <a:gd name="connsiteX0" fmla="*/ 205435 w 250031"/>
              <a:gd name="connsiteY0" fmla="*/ 255873 h 259557"/>
              <a:gd name="connsiteX1" fmla="*/ 247650 w 250031"/>
              <a:gd name="connsiteY1" fmla="*/ 221457 h 259557"/>
              <a:gd name="connsiteX2" fmla="*/ 250031 w 250031"/>
              <a:gd name="connsiteY2" fmla="*/ 161925 h 259557"/>
              <a:gd name="connsiteX3" fmla="*/ 242887 w 250031"/>
              <a:gd name="connsiteY3" fmla="*/ 95250 h 259557"/>
              <a:gd name="connsiteX4" fmla="*/ 233362 w 250031"/>
              <a:gd name="connsiteY4" fmla="*/ 66675 h 259557"/>
              <a:gd name="connsiteX5" fmla="*/ 216693 w 250031"/>
              <a:gd name="connsiteY5" fmla="*/ 40482 h 259557"/>
              <a:gd name="connsiteX6" fmla="*/ 202406 w 250031"/>
              <a:gd name="connsiteY6" fmla="*/ 21432 h 259557"/>
              <a:gd name="connsiteX7" fmla="*/ 180975 w 250031"/>
              <a:gd name="connsiteY7" fmla="*/ 7144 h 259557"/>
              <a:gd name="connsiteX8" fmla="*/ 152400 w 250031"/>
              <a:gd name="connsiteY8" fmla="*/ 0 h 259557"/>
              <a:gd name="connsiteX9" fmla="*/ 123825 w 250031"/>
              <a:gd name="connsiteY9" fmla="*/ 0 h 259557"/>
              <a:gd name="connsiteX10" fmla="*/ 85725 w 250031"/>
              <a:gd name="connsiteY10" fmla="*/ 4763 h 259557"/>
              <a:gd name="connsiteX11" fmla="*/ 59531 w 250031"/>
              <a:gd name="connsiteY11" fmla="*/ 19050 h 259557"/>
              <a:gd name="connsiteX12" fmla="*/ 35718 w 250031"/>
              <a:gd name="connsiteY12" fmla="*/ 40482 h 259557"/>
              <a:gd name="connsiteX13" fmla="*/ 14287 w 250031"/>
              <a:gd name="connsiteY13" fmla="*/ 78582 h 259557"/>
              <a:gd name="connsiteX14" fmla="*/ 2381 w 250031"/>
              <a:gd name="connsiteY14" fmla="*/ 119063 h 259557"/>
              <a:gd name="connsiteX15" fmla="*/ 0 w 250031"/>
              <a:gd name="connsiteY15" fmla="*/ 147638 h 259557"/>
              <a:gd name="connsiteX16" fmla="*/ 0 w 250031"/>
              <a:gd name="connsiteY16" fmla="*/ 195263 h 259557"/>
              <a:gd name="connsiteX17" fmla="*/ 14287 w 250031"/>
              <a:gd name="connsiteY17" fmla="*/ 216694 h 259557"/>
              <a:gd name="connsiteX18" fmla="*/ 61912 w 250031"/>
              <a:gd name="connsiteY18" fmla="*/ 245269 h 259557"/>
              <a:gd name="connsiteX19" fmla="*/ 109537 w 250031"/>
              <a:gd name="connsiteY19" fmla="*/ 259557 h 259557"/>
              <a:gd name="connsiteX20" fmla="*/ 205435 w 250031"/>
              <a:gd name="connsiteY20" fmla="*/ 255873 h 259557"/>
              <a:gd name="connsiteX0" fmla="*/ 205435 w 250031"/>
              <a:gd name="connsiteY0" fmla="*/ 255873 h 264031"/>
              <a:gd name="connsiteX1" fmla="*/ 247650 w 250031"/>
              <a:gd name="connsiteY1" fmla="*/ 221457 h 264031"/>
              <a:gd name="connsiteX2" fmla="*/ 250031 w 250031"/>
              <a:gd name="connsiteY2" fmla="*/ 161925 h 264031"/>
              <a:gd name="connsiteX3" fmla="*/ 242887 w 250031"/>
              <a:gd name="connsiteY3" fmla="*/ 95250 h 264031"/>
              <a:gd name="connsiteX4" fmla="*/ 233362 w 250031"/>
              <a:gd name="connsiteY4" fmla="*/ 66675 h 264031"/>
              <a:gd name="connsiteX5" fmla="*/ 216693 w 250031"/>
              <a:gd name="connsiteY5" fmla="*/ 40482 h 264031"/>
              <a:gd name="connsiteX6" fmla="*/ 202406 w 250031"/>
              <a:gd name="connsiteY6" fmla="*/ 21432 h 264031"/>
              <a:gd name="connsiteX7" fmla="*/ 180975 w 250031"/>
              <a:gd name="connsiteY7" fmla="*/ 7144 h 264031"/>
              <a:gd name="connsiteX8" fmla="*/ 152400 w 250031"/>
              <a:gd name="connsiteY8" fmla="*/ 0 h 264031"/>
              <a:gd name="connsiteX9" fmla="*/ 123825 w 250031"/>
              <a:gd name="connsiteY9" fmla="*/ 0 h 264031"/>
              <a:gd name="connsiteX10" fmla="*/ 85725 w 250031"/>
              <a:gd name="connsiteY10" fmla="*/ 4763 h 264031"/>
              <a:gd name="connsiteX11" fmla="*/ 59531 w 250031"/>
              <a:gd name="connsiteY11" fmla="*/ 19050 h 264031"/>
              <a:gd name="connsiteX12" fmla="*/ 35718 w 250031"/>
              <a:gd name="connsiteY12" fmla="*/ 40482 h 264031"/>
              <a:gd name="connsiteX13" fmla="*/ 14287 w 250031"/>
              <a:gd name="connsiteY13" fmla="*/ 78582 h 264031"/>
              <a:gd name="connsiteX14" fmla="*/ 2381 w 250031"/>
              <a:gd name="connsiteY14" fmla="*/ 119063 h 264031"/>
              <a:gd name="connsiteX15" fmla="*/ 0 w 250031"/>
              <a:gd name="connsiteY15" fmla="*/ 147638 h 264031"/>
              <a:gd name="connsiteX16" fmla="*/ 0 w 250031"/>
              <a:gd name="connsiteY16" fmla="*/ 195263 h 264031"/>
              <a:gd name="connsiteX17" fmla="*/ 14287 w 250031"/>
              <a:gd name="connsiteY17" fmla="*/ 216694 h 264031"/>
              <a:gd name="connsiteX18" fmla="*/ 61912 w 250031"/>
              <a:gd name="connsiteY18" fmla="*/ 245269 h 264031"/>
              <a:gd name="connsiteX19" fmla="*/ 109537 w 250031"/>
              <a:gd name="connsiteY19" fmla="*/ 259557 h 264031"/>
              <a:gd name="connsiteX20" fmla="*/ 205435 w 250031"/>
              <a:gd name="connsiteY20" fmla="*/ 255873 h 264031"/>
              <a:gd name="connsiteX0" fmla="*/ 205435 w 250031"/>
              <a:gd name="connsiteY0" fmla="*/ 255873 h 264031"/>
              <a:gd name="connsiteX1" fmla="*/ 247650 w 250031"/>
              <a:gd name="connsiteY1" fmla="*/ 221457 h 264031"/>
              <a:gd name="connsiteX2" fmla="*/ 250031 w 250031"/>
              <a:gd name="connsiteY2" fmla="*/ 161925 h 264031"/>
              <a:gd name="connsiteX3" fmla="*/ 242887 w 250031"/>
              <a:gd name="connsiteY3" fmla="*/ 95250 h 264031"/>
              <a:gd name="connsiteX4" fmla="*/ 233362 w 250031"/>
              <a:gd name="connsiteY4" fmla="*/ 66675 h 264031"/>
              <a:gd name="connsiteX5" fmla="*/ 216693 w 250031"/>
              <a:gd name="connsiteY5" fmla="*/ 40482 h 264031"/>
              <a:gd name="connsiteX6" fmla="*/ 202406 w 250031"/>
              <a:gd name="connsiteY6" fmla="*/ 21432 h 264031"/>
              <a:gd name="connsiteX7" fmla="*/ 180975 w 250031"/>
              <a:gd name="connsiteY7" fmla="*/ 7144 h 264031"/>
              <a:gd name="connsiteX8" fmla="*/ 152400 w 250031"/>
              <a:gd name="connsiteY8" fmla="*/ 0 h 264031"/>
              <a:gd name="connsiteX9" fmla="*/ 123825 w 250031"/>
              <a:gd name="connsiteY9" fmla="*/ 0 h 264031"/>
              <a:gd name="connsiteX10" fmla="*/ 85725 w 250031"/>
              <a:gd name="connsiteY10" fmla="*/ 4763 h 264031"/>
              <a:gd name="connsiteX11" fmla="*/ 59531 w 250031"/>
              <a:gd name="connsiteY11" fmla="*/ 19050 h 264031"/>
              <a:gd name="connsiteX12" fmla="*/ 35718 w 250031"/>
              <a:gd name="connsiteY12" fmla="*/ 40482 h 264031"/>
              <a:gd name="connsiteX13" fmla="*/ 14287 w 250031"/>
              <a:gd name="connsiteY13" fmla="*/ 78582 h 264031"/>
              <a:gd name="connsiteX14" fmla="*/ 2381 w 250031"/>
              <a:gd name="connsiteY14" fmla="*/ 119063 h 264031"/>
              <a:gd name="connsiteX15" fmla="*/ 0 w 250031"/>
              <a:gd name="connsiteY15" fmla="*/ 147638 h 264031"/>
              <a:gd name="connsiteX16" fmla="*/ 0 w 250031"/>
              <a:gd name="connsiteY16" fmla="*/ 195263 h 264031"/>
              <a:gd name="connsiteX17" fmla="*/ 14287 w 250031"/>
              <a:gd name="connsiteY17" fmla="*/ 216694 h 264031"/>
              <a:gd name="connsiteX18" fmla="*/ 61912 w 250031"/>
              <a:gd name="connsiteY18" fmla="*/ 245269 h 264031"/>
              <a:gd name="connsiteX19" fmla="*/ 109537 w 250031"/>
              <a:gd name="connsiteY19" fmla="*/ 259557 h 264031"/>
              <a:gd name="connsiteX20" fmla="*/ 205435 w 250031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5873 h 264031"/>
              <a:gd name="connsiteX1" fmla="*/ 247650 w 255375"/>
              <a:gd name="connsiteY1" fmla="*/ 221457 h 264031"/>
              <a:gd name="connsiteX2" fmla="*/ 250031 w 255375"/>
              <a:gd name="connsiteY2" fmla="*/ 161925 h 264031"/>
              <a:gd name="connsiteX3" fmla="*/ 242887 w 255375"/>
              <a:gd name="connsiteY3" fmla="*/ 95250 h 264031"/>
              <a:gd name="connsiteX4" fmla="*/ 233362 w 255375"/>
              <a:gd name="connsiteY4" fmla="*/ 66675 h 264031"/>
              <a:gd name="connsiteX5" fmla="*/ 216693 w 255375"/>
              <a:gd name="connsiteY5" fmla="*/ 40482 h 264031"/>
              <a:gd name="connsiteX6" fmla="*/ 202406 w 255375"/>
              <a:gd name="connsiteY6" fmla="*/ 21432 h 264031"/>
              <a:gd name="connsiteX7" fmla="*/ 180975 w 255375"/>
              <a:gd name="connsiteY7" fmla="*/ 7144 h 264031"/>
              <a:gd name="connsiteX8" fmla="*/ 152400 w 255375"/>
              <a:gd name="connsiteY8" fmla="*/ 0 h 264031"/>
              <a:gd name="connsiteX9" fmla="*/ 123825 w 255375"/>
              <a:gd name="connsiteY9" fmla="*/ 0 h 264031"/>
              <a:gd name="connsiteX10" fmla="*/ 85725 w 255375"/>
              <a:gd name="connsiteY10" fmla="*/ 4763 h 264031"/>
              <a:gd name="connsiteX11" fmla="*/ 59531 w 255375"/>
              <a:gd name="connsiteY11" fmla="*/ 19050 h 264031"/>
              <a:gd name="connsiteX12" fmla="*/ 35718 w 255375"/>
              <a:gd name="connsiteY12" fmla="*/ 40482 h 264031"/>
              <a:gd name="connsiteX13" fmla="*/ 14287 w 255375"/>
              <a:gd name="connsiteY13" fmla="*/ 78582 h 264031"/>
              <a:gd name="connsiteX14" fmla="*/ 2381 w 255375"/>
              <a:gd name="connsiteY14" fmla="*/ 119063 h 264031"/>
              <a:gd name="connsiteX15" fmla="*/ 0 w 255375"/>
              <a:gd name="connsiteY15" fmla="*/ 147638 h 264031"/>
              <a:gd name="connsiteX16" fmla="*/ 0 w 255375"/>
              <a:gd name="connsiteY16" fmla="*/ 195263 h 264031"/>
              <a:gd name="connsiteX17" fmla="*/ 14287 w 255375"/>
              <a:gd name="connsiteY17" fmla="*/ 216694 h 264031"/>
              <a:gd name="connsiteX18" fmla="*/ 61912 w 255375"/>
              <a:gd name="connsiteY18" fmla="*/ 245269 h 264031"/>
              <a:gd name="connsiteX19" fmla="*/ 109537 w 255375"/>
              <a:gd name="connsiteY19" fmla="*/ 259557 h 264031"/>
              <a:gd name="connsiteX20" fmla="*/ 205435 w 255375"/>
              <a:gd name="connsiteY20" fmla="*/ 255873 h 264031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5435 w 255375"/>
              <a:gd name="connsiteY0" fmla="*/ 257064 h 265222"/>
              <a:gd name="connsiteX1" fmla="*/ 247650 w 255375"/>
              <a:gd name="connsiteY1" fmla="*/ 222648 h 265222"/>
              <a:gd name="connsiteX2" fmla="*/ 250031 w 255375"/>
              <a:gd name="connsiteY2" fmla="*/ 163116 h 265222"/>
              <a:gd name="connsiteX3" fmla="*/ 242887 w 255375"/>
              <a:gd name="connsiteY3" fmla="*/ 96441 h 265222"/>
              <a:gd name="connsiteX4" fmla="*/ 233362 w 255375"/>
              <a:gd name="connsiteY4" fmla="*/ 67866 h 265222"/>
              <a:gd name="connsiteX5" fmla="*/ 216693 w 255375"/>
              <a:gd name="connsiteY5" fmla="*/ 41673 h 265222"/>
              <a:gd name="connsiteX6" fmla="*/ 202406 w 255375"/>
              <a:gd name="connsiteY6" fmla="*/ 22623 h 265222"/>
              <a:gd name="connsiteX7" fmla="*/ 180975 w 255375"/>
              <a:gd name="connsiteY7" fmla="*/ 8335 h 265222"/>
              <a:gd name="connsiteX8" fmla="*/ 152400 w 255375"/>
              <a:gd name="connsiteY8" fmla="*/ 1191 h 265222"/>
              <a:gd name="connsiteX9" fmla="*/ 123825 w 255375"/>
              <a:gd name="connsiteY9" fmla="*/ 1191 h 265222"/>
              <a:gd name="connsiteX10" fmla="*/ 85725 w 255375"/>
              <a:gd name="connsiteY10" fmla="*/ 5954 h 265222"/>
              <a:gd name="connsiteX11" fmla="*/ 59531 w 255375"/>
              <a:gd name="connsiteY11" fmla="*/ 20241 h 265222"/>
              <a:gd name="connsiteX12" fmla="*/ 35718 w 255375"/>
              <a:gd name="connsiteY12" fmla="*/ 41673 h 265222"/>
              <a:gd name="connsiteX13" fmla="*/ 14287 w 255375"/>
              <a:gd name="connsiteY13" fmla="*/ 79773 h 265222"/>
              <a:gd name="connsiteX14" fmla="*/ 2381 w 255375"/>
              <a:gd name="connsiteY14" fmla="*/ 120254 h 265222"/>
              <a:gd name="connsiteX15" fmla="*/ 0 w 255375"/>
              <a:gd name="connsiteY15" fmla="*/ 148829 h 265222"/>
              <a:gd name="connsiteX16" fmla="*/ 0 w 255375"/>
              <a:gd name="connsiteY16" fmla="*/ 196454 h 265222"/>
              <a:gd name="connsiteX17" fmla="*/ 14287 w 255375"/>
              <a:gd name="connsiteY17" fmla="*/ 217885 h 265222"/>
              <a:gd name="connsiteX18" fmla="*/ 61912 w 255375"/>
              <a:gd name="connsiteY18" fmla="*/ 246460 h 265222"/>
              <a:gd name="connsiteX19" fmla="*/ 109537 w 255375"/>
              <a:gd name="connsiteY19" fmla="*/ 260748 h 265222"/>
              <a:gd name="connsiteX20" fmla="*/ 205435 w 255375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65222"/>
              <a:gd name="connsiteX1" fmla="*/ 250031 w 257756"/>
              <a:gd name="connsiteY1" fmla="*/ 222648 h 265222"/>
              <a:gd name="connsiteX2" fmla="*/ 252412 w 257756"/>
              <a:gd name="connsiteY2" fmla="*/ 163116 h 265222"/>
              <a:gd name="connsiteX3" fmla="*/ 245268 w 257756"/>
              <a:gd name="connsiteY3" fmla="*/ 96441 h 265222"/>
              <a:gd name="connsiteX4" fmla="*/ 235743 w 257756"/>
              <a:gd name="connsiteY4" fmla="*/ 67866 h 265222"/>
              <a:gd name="connsiteX5" fmla="*/ 219074 w 257756"/>
              <a:gd name="connsiteY5" fmla="*/ 41673 h 265222"/>
              <a:gd name="connsiteX6" fmla="*/ 204787 w 257756"/>
              <a:gd name="connsiteY6" fmla="*/ 22623 h 265222"/>
              <a:gd name="connsiteX7" fmla="*/ 183356 w 257756"/>
              <a:gd name="connsiteY7" fmla="*/ 8335 h 265222"/>
              <a:gd name="connsiteX8" fmla="*/ 154781 w 257756"/>
              <a:gd name="connsiteY8" fmla="*/ 1191 h 265222"/>
              <a:gd name="connsiteX9" fmla="*/ 126206 w 257756"/>
              <a:gd name="connsiteY9" fmla="*/ 1191 h 265222"/>
              <a:gd name="connsiteX10" fmla="*/ 88106 w 257756"/>
              <a:gd name="connsiteY10" fmla="*/ 5954 h 265222"/>
              <a:gd name="connsiteX11" fmla="*/ 61912 w 257756"/>
              <a:gd name="connsiteY11" fmla="*/ 20241 h 265222"/>
              <a:gd name="connsiteX12" fmla="*/ 38099 w 257756"/>
              <a:gd name="connsiteY12" fmla="*/ 41673 h 265222"/>
              <a:gd name="connsiteX13" fmla="*/ 16668 w 257756"/>
              <a:gd name="connsiteY13" fmla="*/ 79773 h 265222"/>
              <a:gd name="connsiteX14" fmla="*/ 4762 w 257756"/>
              <a:gd name="connsiteY14" fmla="*/ 120254 h 265222"/>
              <a:gd name="connsiteX15" fmla="*/ 2381 w 257756"/>
              <a:gd name="connsiteY15" fmla="*/ 148829 h 265222"/>
              <a:gd name="connsiteX16" fmla="*/ 2381 w 257756"/>
              <a:gd name="connsiteY16" fmla="*/ 196454 h 265222"/>
              <a:gd name="connsiteX17" fmla="*/ 16668 w 257756"/>
              <a:gd name="connsiteY17" fmla="*/ 217885 h 265222"/>
              <a:gd name="connsiteX18" fmla="*/ 64293 w 257756"/>
              <a:gd name="connsiteY18" fmla="*/ 246460 h 265222"/>
              <a:gd name="connsiteX19" fmla="*/ 111918 w 257756"/>
              <a:gd name="connsiteY19" fmla="*/ 260748 h 265222"/>
              <a:gd name="connsiteX20" fmla="*/ 207816 w 257756"/>
              <a:gd name="connsiteY20" fmla="*/ 257064 h 265222"/>
              <a:gd name="connsiteX0" fmla="*/ 207816 w 257756"/>
              <a:gd name="connsiteY0" fmla="*/ 257064 h 274323"/>
              <a:gd name="connsiteX1" fmla="*/ 250031 w 257756"/>
              <a:gd name="connsiteY1" fmla="*/ 222648 h 274323"/>
              <a:gd name="connsiteX2" fmla="*/ 252412 w 257756"/>
              <a:gd name="connsiteY2" fmla="*/ 163116 h 274323"/>
              <a:gd name="connsiteX3" fmla="*/ 245268 w 257756"/>
              <a:gd name="connsiteY3" fmla="*/ 96441 h 274323"/>
              <a:gd name="connsiteX4" fmla="*/ 235743 w 257756"/>
              <a:gd name="connsiteY4" fmla="*/ 67866 h 274323"/>
              <a:gd name="connsiteX5" fmla="*/ 219074 w 257756"/>
              <a:gd name="connsiteY5" fmla="*/ 41673 h 274323"/>
              <a:gd name="connsiteX6" fmla="*/ 204787 w 257756"/>
              <a:gd name="connsiteY6" fmla="*/ 22623 h 274323"/>
              <a:gd name="connsiteX7" fmla="*/ 183356 w 257756"/>
              <a:gd name="connsiteY7" fmla="*/ 8335 h 274323"/>
              <a:gd name="connsiteX8" fmla="*/ 154781 w 257756"/>
              <a:gd name="connsiteY8" fmla="*/ 1191 h 274323"/>
              <a:gd name="connsiteX9" fmla="*/ 126206 w 257756"/>
              <a:gd name="connsiteY9" fmla="*/ 1191 h 274323"/>
              <a:gd name="connsiteX10" fmla="*/ 88106 w 257756"/>
              <a:gd name="connsiteY10" fmla="*/ 5954 h 274323"/>
              <a:gd name="connsiteX11" fmla="*/ 61912 w 257756"/>
              <a:gd name="connsiteY11" fmla="*/ 20241 h 274323"/>
              <a:gd name="connsiteX12" fmla="*/ 38099 w 257756"/>
              <a:gd name="connsiteY12" fmla="*/ 41673 h 274323"/>
              <a:gd name="connsiteX13" fmla="*/ 16668 w 257756"/>
              <a:gd name="connsiteY13" fmla="*/ 79773 h 274323"/>
              <a:gd name="connsiteX14" fmla="*/ 4762 w 257756"/>
              <a:gd name="connsiteY14" fmla="*/ 120254 h 274323"/>
              <a:gd name="connsiteX15" fmla="*/ 2381 w 257756"/>
              <a:gd name="connsiteY15" fmla="*/ 148829 h 274323"/>
              <a:gd name="connsiteX16" fmla="*/ 2381 w 257756"/>
              <a:gd name="connsiteY16" fmla="*/ 196454 h 274323"/>
              <a:gd name="connsiteX17" fmla="*/ 16668 w 257756"/>
              <a:gd name="connsiteY17" fmla="*/ 217885 h 274323"/>
              <a:gd name="connsiteX18" fmla="*/ 64293 w 257756"/>
              <a:gd name="connsiteY18" fmla="*/ 246460 h 274323"/>
              <a:gd name="connsiteX19" fmla="*/ 111918 w 257756"/>
              <a:gd name="connsiteY19" fmla="*/ 260748 h 274323"/>
              <a:gd name="connsiteX20" fmla="*/ 207816 w 257756"/>
              <a:gd name="connsiteY20" fmla="*/ 257064 h 274323"/>
              <a:gd name="connsiteX0" fmla="*/ 207816 w 257756"/>
              <a:gd name="connsiteY0" fmla="*/ 257064 h 274323"/>
              <a:gd name="connsiteX1" fmla="*/ 250031 w 257756"/>
              <a:gd name="connsiteY1" fmla="*/ 222648 h 274323"/>
              <a:gd name="connsiteX2" fmla="*/ 252412 w 257756"/>
              <a:gd name="connsiteY2" fmla="*/ 163116 h 274323"/>
              <a:gd name="connsiteX3" fmla="*/ 245268 w 257756"/>
              <a:gd name="connsiteY3" fmla="*/ 96441 h 274323"/>
              <a:gd name="connsiteX4" fmla="*/ 235743 w 257756"/>
              <a:gd name="connsiteY4" fmla="*/ 67866 h 274323"/>
              <a:gd name="connsiteX5" fmla="*/ 219074 w 257756"/>
              <a:gd name="connsiteY5" fmla="*/ 41673 h 274323"/>
              <a:gd name="connsiteX6" fmla="*/ 204787 w 257756"/>
              <a:gd name="connsiteY6" fmla="*/ 22623 h 274323"/>
              <a:gd name="connsiteX7" fmla="*/ 183356 w 257756"/>
              <a:gd name="connsiteY7" fmla="*/ 8335 h 274323"/>
              <a:gd name="connsiteX8" fmla="*/ 154781 w 257756"/>
              <a:gd name="connsiteY8" fmla="*/ 1191 h 274323"/>
              <a:gd name="connsiteX9" fmla="*/ 126206 w 257756"/>
              <a:gd name="connsiteY9" fmla="*/ 1191 h 274323"/>
              <a:gd name="connsiteX10" fmla="*/ 88106 w 257756"/>
              <a:gd name="connsiteY10" fmla="*/ 5954 h 274323"/>
              <a:gd name="connsiteX11" fmla="*/ 61912 w 257756"/>
              <a:gd name="connsiteY11" fmla="*/ 20241 h 274323"/>
              <a:gd name="connsiteX12" fmla="*/ 38099 w 257756"/>
              <a:gd name="connsiteY12" fmla="*/ 41673 h 274323"/>
              <a:gd name="connsiteX13" fmla="*/ 16668 w 257756"/>
              <a:gd name="connsiteY13" fmla="*/ 79773 h 274323"/>
              <a:gd name="connsiteX14" fmla="*/ 4762 w 257756"/>
              <a:gd name="connsiteY14" fmla="*/ 120254 h 274323"/>
              <a:gd name="connsiteX15" fmla="*/ 2381 w 257756"/>
              <a:gd name="connsiteY15" fmla="*/ 148829 h 274323"/>
              <a:gd name="connsiteX16" fmla="*/ 2381 w 257756"/>
              <a:gd name="connsiteY16" fmla="*/ 196454 h 274323"/>
              <a:gd name="connsiteX17" fmla="*/ 16668 w 257756"/>
              <a:gd name="connsiteY17" fmla="*/ 217885 h 274323"/>
              <a:gd name="connsiteX18" fmla="*/ 64293 w 257756"/>
              <a:gd name="connsiteY18" fmla="*/ 246460 h 274323"/>
              <a:gd name="connsiteX19" fmla="*/ 128378 w 257756"/>
              <a:gd name="connsiteY19" fmla="*/ 265946 h 274323"/>
              <a:gd name="connsiteX20" fmla="*/ 207816 w 257756"/>
              <a:gd name="connsiteY20" fmla="*/ 257064 h 274323"/>
              <a:gd name="connsiteX0" fmla="*/ 207816 w 257756"/>
              <a:gd name="connsiteY0" fmla="*/ 257064 h 269394"/>
              <a:gd name="connsiteX1" fmla="*/ 250031 w 257756"/>
              <a:gd name="connsiteY1" fmla="*/ 222648 h 269394"/>
              <a:gd name="connsiteX2" fmla="*/ 252412 w 257756"/>
              <a:gd name="connsiteY2" fmla="*/ 163116 h 269394"/>
              <a:gd name="connsiteX3" fmla="*/ 245268 w 257756"/>
              <a:gd name="connsiteY3" fmla="*/ 96441 h 269394"/>
              <a:gd name="connsiteX4" fmla="*/ 235743 w 257756"/>
              <a:gd name="connsiteY4" fmla="*/ 67866 h 269394"/>
              <a:gd name="connsiteX5" fmla="*/ 219074 w 257756"/>
              <a:gd name="connsiteY5" fmla="*/ 41673 h 269394"/>
              <a:gd name="connsiteX6" fmla="*/ 204787 w 257756"/>
              <a:gd name="connsiteY6" fmla="*/ 22623 h 269394"/>
              <a:gd name="connsiteX7" fmla="*/ 183356 w 257756"/>
              <a:gd name="connsiteY7" fmla="*/ 8335 h 269394"/>
              <a:gd name="connsiteX8" fmla="*/ 154781 w 257756"/>
              <a:gd name="connsiteY8" fmla="*/ 1191 h 269394"/>
              <a:gd name="connsiteX9" fmla="*/ 126206 w 257756"/>
              <a:gd name="connsiteY9" fmla="*/ 1191 h 269394"/>
              <a:gd name="connsiteX10" fmla="*/ 88106 w 257756"/>
              <a:gd name="connsiteY10" fmla="*/ 5954 h 269394"/>
              <a:gd name="connsiteX11" fmla="*/ 61912 w 257756"/>
              <a:gd name="connsiteY11" fmla="*/ 20241 h 269394"/>
              <a:gd name="connsiteX12" fmla="*/ 38099 w 257756"/>
              <a:gd name="connsiteY12" fmla="*/ 41673 h 269394"/>
              <a:gd name="connsiteX13" fmla="*/ 16668 w 257756"/>
              <a:gd name="connsiteY13" fmla="*/ 79773 h 269394"/>
              <a:gd name="connsiteX14" fmla="*/ 4762 w 257756"/>
              <a:gd name="connsiteY14" fmla="*/ 120254 h 269394"/>
              <a:gd name="connsiteX15" fmla="*/ 2381 w 257756"/>
              <a:gd name="connsiteY15" fmla="*/ 148829 h 269394"/>
              <a:gd name="connsiteX16" fmla="*/ 2381 w 257756"/>
              <a:gd name="connsiteY16" fmla="*/ 196454 h 269394"/>
              <a:gd name="connsiteX17" fmla="*/ 16668 w 257756"/>
              <a:gd name="connsiteY17" fmla="*/ 217885 h 269394"/>
              <a:gd name="connsiteX18" fmla="*/ 64293 w 257756"/>
              <a:gd name="connsiteY18" fmla="*/ 246460 h 269394"/>
              <a:gd name="connsiteX19" fmla="*/ 128378 w 257756"/>
              <a:gd name="connsiteY19" fmla="*/ 265946 h 269394"/>
              <a:gd name="connsiteX20" fmla="*/ 165534 w 257756"/>
              <a:gd name="connsiteY20" fmla="*/ 267146 h 269394"/>
              <a:gd name="connsiteX21" fmla="*/ 207816 w 257756"/>
              <a:gd name="connsiteY21" fmla="*/ 257064 h 269394"/>
              <a:gd name="connsiteX0" fmla="*/ 207816 w 257756"/>
              <a:gd name="connsiteY0" fmla="*/ 257064 h 269394"/>
              <a:gd name="connsiteX1" fmla="*/ 250031 w 257756"/>
              <a:gd name="connsiteY1" fmla="*/ 222648 h 269394"/>
              <a:gd name="connsiteX2" fmla="*/ 252412 w 257756"/>
              <a:gd name="connsiteY2" fmla="*/ 163116 h 269394"/>
              <a:gd name="connsiteX3" fmla="*/ 245268 w 257756"/>
              <a:gd name="connsiteY3" fmla="*/ 96441 h 269394"/>
              <a:gd name="connsiteX4" fmla="*/ 235743 w 257756"/>
              <a:gd name="connsiteY4" fmla="*/ 67866 h 269394"/>
              <a:gd name="connsiteX5" fmla="*/ 219074 w 257756"/>
              <a:gd name="connsiteY5" fmla="*/ 41673 h 269394"/>
              <a:gd name="connsiteX6" fmla="*/ 204787 w 257756"/>
              <a:gd name="connsiteY6" fmla="*/ 22623 h 269394"/>
              <a:gd name="connsiteX7" fmla="*/ 183356 w 257756"/>
              <a:gd name="connsiteY7" fmla="*/ 8335 h 269394"/>
              <a:gd name="connsiteX8" fmla="*/ 154781 w 257756"/>
              <a:gd name="connsiteY8" fmla="*/ 1191 h 269394"/>
              <a:gd name="connsiteX9" fmla="*/ 126206 w 257756"/>
              <a:gd name="connsiteY9" fmla="*/ 1191 h 269394"/>
              <a:gd name="connsiteX10" fmla="*/ 88106 w 257756"/>
              <a:gd name="connsiteY10" fmla="*/ 5954 h 269394"/>
              <a:gd name="connsiteX11" fmla="*/ 61912 w 257756"/>
              <a:gd name="connsiteY11" fmla="*/ 20241 h 269394"/>
              <a:gd name="connsiteX12" fmla="*/ 38099 w 257756"/>
              <a:gd name="connsiteY12" fmla="*/ 41673 h 269394"/>
              <a:gd name="connsiteX13" fmla="*/ 16668 w 257756"/>
              <a:gd name="connsiteY13" fmla="*/ 79773 h 269394"/>
              <a:gd name="connsiteX14" fmla="*/ 4762 w 257756"/>
              <a:gd name="connsiteY14" fmla="*/ 120254 h 269394"/>
              <a:gd name="connsiteX15" fmla="*/ 2381 w 257756"/>
              <a:gd name="connsiteY15" fmla="*/ 148829 h 269394"/>
              <a:gd name="connsiteX16" fmla="*/ 2381 w 257756"/>
              <a:gd name="connsiteY16" fmla="*/ 196454 h 269394"/>
              <a:gd name="connsiteX17" fmla="*/ 16668 w 257756"/>
              <a:gd name="connsiteY17" fmla="*/ 217885 h 269394"/>
              <a:gd name="connsiteX18" fmla="*/ 64293 w 257756"/>
              <a:gd name="connsiteY18" fmla="*/ 246460 h 269394"/>
              <a:gd name="connsiteX19" fmla="*/ 128378 w 257756"/>
              <a:gd name="connsiteY19" fmla="*/ 265946 h 269394"/>
              <a:gd name="connsiteX20" fmla="*/ 165534 w 257756"/>
              <a:gd name="connsiteY20" fmla="*/ 267146 h 269394"/>
              <a:gd name="connsiteX21" fmla="*/ 207816 w 257756"/>
              <a:gd name="connsiteY21" fmla="*/ 257064 h 269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257756" h="269394">
                <a:moveTo>
                  <a:pt x="207816" y="257064"/>
                </a:moveTo>
                <a:cubicBezTo>
                  <a:pt x="234016" y="240394"/>
                  <a:pt x="235959" y="234120"/>
                  <a:pt x="250031" y="222648"/>
                </a:cubicBezTo>
                <a:cubicBezTo>
                  <a:pt x="257756" y="202804"/>
                  <a:pt x="253161" y="182962"/>
                  <a:pt x="252412" y="163116"/>
                </a:cubicBezTo>
                <a:cubicBezTo>
                  <a:pt x="251618" y="142082"/>
                  <a:pt x="248046" y="112316"/>
                  <a:pt x="245268" y="96441"/>
                </a:cubicBezTo>
                <a:cubicBezTo>
                  <a:pt x="242490" y="80566"/>
                  <a:pt x="240109" y="76994"/>
                  <a:pt x="235743" y="67866"/>
                </a:cubicBezTo>
                <a:cubicBezTo>
                  <a:pt x="231377" y="58738"/>
                  <a:pt x="224233" y="49214"/>
                  <a:pt x="219074" y="41673"/>
                </a:cubicBezTo>
                <a:cubicBezTo>
                  <a:pt x="213915" y="34132"/>
                  <a:pt x="210740" y="28179"/>
                  <a:pt x="204787" y="22623"/>
                </a:cubicBezTo>
                <a:cubicBezTo>
                  <a:pt x="198834" y="17067"/>
                  <a:pt x="191690" y="11907"/>
                  <a:pt x="183356" y="8335"/>
                </a:cubicBezTo>
                <a:cubicBezTo>
                  <a:pt x="175022" y="4763"/>
                  <a:pt x="164306" y="2382"/>
                  <a:pt x="154781" y="1191"/>
                </a:cubicBezTo>
                <a:cubicBezTo>
                  <a:pt x="145256" y="0"/>
                  <a:pt x="137318" y="397"/>
                  <a:pt x="126206" y="1191"/>
                </a:cubicBezTo>
                <a:cubicBezTo>
                  <a:pt x="115094" y="1985"/>
                  <a:pt x="98822" y="2779"/>
                  <a:pt x="88106" y="5954"/>
                </a:cubicBezTo>
                <a:cubicBezTo>
                  <a:pt x="77390" y="9129"/>
                  <a:pt x="70247" y="14288"/>
                  <a:pt x="61912" y="20241"/>
                </a:cubicBezTo>
                <a:cubicBezTo>
                  <a:pt x="53578" y="26194"/>
                  <a:pt x="45640" y="31751"/>
                  <a:pt x="38099" y="41673"/>
                </a:cubicBezTo>
                <a:cubicBezTo>
                  <a:pt x="30558" y="51595"/>
                  <a:pt x="22224" y="66676"/>
                  <a:pt x="16668" y="79773"/>
                </a:cubicBezTo>
                <a:cubicBezTo>
                  <a:pt x="11112" y="92870"/>
                  <a:pt x="7143" y="108745"/>
                  <a:pt x="4762" y="120254"/>
                </a:cubicBezTo>
                <a:cubicBezTo>
                  <a:pt x="2381" y="131763"/>
                  <a:pt x="2778" y="136129"/>
                  <a:pt x="2381" y="148829"/>
                </a:cubicBezTo>
                <a:cubicBezTo>
                  <a:pt x="1984" y="161529"/>
                  <a:pt x="0" y="184945"/>
                  <a:pt x="2381" y="196454"/>
                </a:cubicBezTo>
                <a:cubicBezTo>
                  <a:pt x="4762" y="207963"/>
                  <a:pt x="6349" y="209551"/>
                  <a:pt x="16668" y="217885"/>
                </a:cubicBezTo>
                <a:cubicBezTo>
                  <a:pt x="26987" y="226219"/>
                  <a:pt x="45675" y="238450"/>
                  <a:pt x="64293" y="246460"/>
                </a:cubicBezTo>
                <a:cubicBezTo>
                  <a:pt x="82911" y="254470"/>
                  <a:pt x="111505" y="262498"/>
                  <a:pt x="128378" y="265946"/>
                </a:cubicBezTo>
                <a:cubicBezTo>
                  <a:pt x="145251" y="269394"/>
                  <a:pt x="152294" y="268626"/>
                  <a:pt x="165534" y="267146"/>
                </a:cubicBezTo>
                <a:cubicBezTo>
                  <a:pt x="178774" y="265666"/>
                  <a:pt x="193733" y="264480"/>
                  <a:pt x="207816" y="257064"/>
                </a:cubicBezTo>
                <a:close/>
              </a:path>
            </a:pathLst>
          </a:custGeom>
          <a:gradFill flip="none" rotWithShape="1">
            <a:gsLst>
              <a:gs pos="79000">
                <a:schemeClr val="accent1">
                  <a:lumMod val="75000"/>
                </a:schemeClr>
              </a:gs>
              <a:gs pos="21000">
                <a:schemeClr val="accent1">
                  <a:tint val="44500"/>
                  <a:satMod val="16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>
            <a:outerShdw blurRad="50800" dist="50800" dir="5400000" algn="ctr" rotWithShape="0">
              <a:schemeClr val="bg1"/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43" name="Ellipse 142"/>
          <p:cNvSpPr/>
          <p:nvPr/>
        </p:nvSpPr>
        <p:spPr>
          <a:xfrm>
            <a:off x="2716187" y="5479256"/>
            <a:ext cx="198487" cy="198487"/>
          </a:xfrm>
          <a:prstGeom prst="ellipse">
            <a:avLst/>
          </a:prstGeom>
          <a:gradFill flip="none" rotWithShape="1">
            <a:gsLst>
              <a:gs pos="46000">
                <a:schemeClr val="accent1">
                  <a:tint val="66000"/>
                  <a:satMod val="160000"/>
                </a:schemeClr>
              </a:gs>
              <a:gs pos="21000">
                <a:schemeClr val="accent1">
                  <a:tint val="44500"/>
                  <a:satMod val="160000"/>
                </a:schemeClr>
              </a:gs>
              <a:gs pos="86000">
                <a:schemeClr val="tx2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sp>
        <p:nvSpPr>
          <p:cNvPr id="156" name="Ellipse 155"/>
          <p:cNvSpPr/>
          <p:nvPr/>
        </p:nvSpPr>
        <p:spPr>
          <a:xfrm>
            <a:off x="1922538" y="5460207"/>
            <a:ext cx="198487" cy="198486"/>
          </a:xfrm>
          <a:prstGeom prst="ellipse">
            <a:avLst/>
          </a:prstGeom>
          <a:gradFill>
            <a:gsLst>
              <a:gs pos="71000">
                <a:schemeClr val="accent3">
                  <a:lumMod val="75000"/>
                </a:schemeClr>
              </a:gs>
              <a:gs pos="80000">
                <a:srgbClr val="425222">
                  <a:alpha val="0"/>
                </a:srgbClr>
              </a:gs>
              <a:gs pos="21000">
                <a:schemeClr val="accent1">
                  <a:tint val="44500"/>
                  <a:satMod val="160000"/>
                </a:schemeClr>
              </a:gs>
              <a:gs pos="21000">
                <a:schemeClr val="accent3">
                  <a:lumMod val="75000"/>
                  <a:alpha val="42000"/>
                </a:schemeClr>
              </a:gs>
              <a:gs pos="86000">
                <a:schemeClr val="tx2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>
            <a:outerShdw blurRad="50800" dist="50800" dir="5400000" algn="ctr" rotWithShape="0">
              <a:schemeClr val="accent3">
                <a:lumMod val="75000"/>
                <a:alpha val="12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prstClr val="white"/>
              </a:solidFill>
            </a:endParaRPr>
          </a:p>
        </p:txBody>
      </p:sp>
      <p:cxnSp>
        <p:nvCxnSpPr>
          <p:cNvPr id="88" name="Gerade Verbindung mit Pfeil 87"/>
          <p:cNvCxnSpPr/>
          <p:nvPr/>
        </p:nvCxnSpPr>
        <p:spPr>
          <a:xfrm>
            <a:off x="564357" y="3329161"/>
            <a:ext cx="457200" cy="2207"/>
          </a:xfrm>
          <a:prstGeom prst="straightConnector1">
            <a:avLst/>
          </a:prstGeom>
          <a:ln w="38100">
            <a:solidFill>
              <a:schemeClr val="accent1">
                <a:lumMod val="75000"/>
              </a:schemeClr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feld 1"/>
          <p:cNvSpPr txBox="1"/>
          <p:nvPr/>
        </p:nvSpPr>
        <p:spPr>
          <a:xfrm rot="21041764">
            <a:off x="325708" y="536290"/>
            <a:ext cx="3119765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sz="2800" dirty="0" err="1" smtClean="0">
                <a:solidFill>
                  <a:srgbClr val="39471D"/>
                </a:solidFill>
                <a:latin typeface="Arial" charset="0"/>
                <a:cs typeface="+mn-cs"/>
              </a:rPr>
              <a:t>Scrum</a:t>
            </a:r>
            <a:r>
              <a:rPr lang="de-DE" sz="2800" dirty="0" smtClean="0">
                <a:solidFill>
                  <a:srgbClr val="39471D"/>
                </a:solidFill>
                <a:latin typeface="Arial" charset="0"/>
                <a:cs typeface="+mn-cs"/>
              </a:rPr>
              <a:t>: </a:t>
            </a:r>
            <a:r>
              <a:rPr lang="de-DE" sz="2800" dirty="0" err="1" smtClean="0">
                <a:solidFill>
                  <a:srgbClr val="39471D"/>
                </a:solidFill>
                <a:latin typeface="Arial" charset="0"/>
                <a:cs typeface="+mn-cs"/>
              </a:rPr>
              <a:t>Overview</a:t>
            </a:r>
            <a:endParaRPr lang="de-DE" sz="2800" dirty="0">
              <a:solidFill>
                <a:srgbClr val="39471D"/>
              </a:solidFill>
              <a:latin typeface="Arial" charset="0"/>
              <a:cs typeface="+mn-cs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4782557" y="1646852"/>
            <a:ext cx="195117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sz="1200" b="0" dirty="0" smtClean="0">
                <a:solidFill>
                  <a:prstClr val="black"/>
                </a:solidFill>
                <a:latin typeface="Arial" charset="0"/>
                <a:cs typeface="+mn-cs"/>
              </a:rPr>
              <a:t>Progress check in a </a:t>
            </a:r>
            <a:r>
              <a:rPr lang="de-DE" sz="1200" b="0" dirty="0" err="1">
                <a:solidFill>
                  <a:prstClr val="black"/>
                </a:solidFill>
                <a:latin typeface="Arial" charset="0"/>
                <a:cs typeface="+mn-cs"/>
              </a:rPr>
              <a:t>s</a:t>
            </a:r>
            <a:r>
              <a:rPr lang="de-DE" sz="1200" b="0" dirty="0" err="1" smtClean="0">
                <a:solidFill>
                  <a:prstClr val="black"/>
                </a:solidFill>
                <a:latin typeface="Arial" charset="0"/>
                <a:cs typeface="+mn-cs"/>
              </a:rPr>
              <a:t>print</a:t>
            </a:r>
            <a:endParaRPr lang="de-DE" sz="1200" b="0" dirty="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91" name="Textfeld 90"/>
          <p:cNvSpPr txBox="1"/>
          <p:nvPr/>
        </p:nvSpPr>
        <p:spPr>
          <a:xfrm>
            <a:off x="7132775" y="1604461"/>
            <a:ext cx="117371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sz="1200" b="0" dirty="0" err="1" smtClean="0">
                <a:solidFill>
                  <a:prstClr val="black"/>
                </a:solidFill>
                <a:latin typeface="Arial" charset="0"/>
                <a:cs typeface="+mn-cs"/>
              </a:rPr>
              <a:t>Visualising</a:t>
            </a:r>
            <a:r>
              <a:rPr lang="de-DE" sz="1200" b="0" dirty="0" smtClean="0">
                <a:solidFill>
                  <a:prstClr val="black"/>
                </a:solidFill>
                <a:latin typeface="Arial" charset="0"/>
                <a:cs typeface="+mn-cs"/>
              </a:rPr>
              <a:t> </a:t>
            </a:r>
            <a:br>
              <a:rPr lang="de-DE" sz="1200" b="0" dirty="0" smtClean="0">
                <a:solidFill>
                  <a:prstClr val="black"/>
                </a:solidFill>
                <a:latin typeface="Arial" charset="0"/>
                <a:cs typeface="+mn-cs"/>
              </a:rPr>
            </a:br>
            <a:r>
              <a:rPr lang="de-DE" sz="1200" b="0" dirty="0" smtClean="0">
                <a:solidFill>
                  <a:prstClr val="black"/>
                </a:solidFill>
                <a:latin typeface="Arial" charset="0"/>
                <a:cs typeface="+mn-cs"/>
              </a:rPr>
              <a:t>Sprint </a:t>
            </a:r>
            <a:r>
              <a:rPr lang="de-DE" sz="1200" b="0" dirty="0" err="1" smtClean="0">
                <a:solidFill>
                  <a:prstClr val="black"/>
                </a:solidFill>
                <a:latin typeface="Arial" charset="0"/>
                <a:cs typeface="+mn-cs"/>
              </a:rPr>
              <a:t>Backlog</a:t>
            </a:r>
            <a:endParaRPr lang="de-DE" sz="1200" b="0" dirty="0">
              <a:solidFill>
                <a:prstClr val="black"/>
              </a:solidFill>
              <a:latin typeface="Arial" charset="0"/>
              <a:cs typeface="+mn-cs"/>
            </a:endParaRPr>
          </a:p>
        </p:txBody>
      </p:sp>
      <p:sp>
        <p:nvSpPr>
          <p:cNvPr id="4" name="Textfeld 3"/>
          <p:cNvSpPr txBox="1"/>
          <p:nvPr/>
        </p:nvSpPr>
        <p:spPr>
          <a:xfrm>
            <a:off x="4459856" y="5838363"/>
            <a:ext cx="4432624" cy="830997"/>
          </a:xfrm>
          <a:prstGeom prst="rect">
            <a:avLst/>
          </a:prstGeom>
          <a:solidFill>
            <a:schemeClr val="tx2">
              <a:lumMod val="75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de-DE" dirty="0" smtClean="0">
                <a:solidFill>
                  <a:schemeClr val="bg1"/>
                </a:solidFill>
              </a:rPr>
              <a:t>Teaching in </a:t>
            </a:r>
            <a:r>
              <a:rPr lang="de-DE" dirty="0" err="1" smtClean="0">
                <a:solidFill>
                  <a:schemeClr val="bg1"/>
                </a:solidFill>
              </a:rPr>
              <a:t>lessons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cannot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br>
              <a:rPr lang="de-DE" dirty="0" smtClean="0">
                <a:solidFill>
                  <a:schemeClr val="bg1"/>
                </a:solidFill>
              </a:rPr>
            </a:br>
            <a:r>
              <a:rPr lang="de-DE" dirty="0" err="1" smtClean="0">
                <a:solidFill>
                  <a:schemeClr val="bg1"/>
                </a:solidFill>
              </a:rPr>
              <a:t>replace</a:t>
            </a:r>
            <a:r>
              <a:rPr lang="de-DE" dirty="0" smtClean="0">
                <a:solidFill>
                  <a:schemeClr val="bg1"/>
                </a:solidFill>
              </a:rPr>
              <a:t> </a:t>
            </a:r>
            <a:r>
              <a:rPr lang="de-DE" dirty="0" err="1" smtClean="0">
                <a:solidFill>
                  <a:schemeClr val="bg1"/>
                </a:solidFill>
              </a:rPr>
              <a:t>experience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" name="Textfeld 4"/>
          <p:cNvSpPr txBox="1"/>
          <p:nvPr/>
        </p:nvSpPr>
        <p:spPr>
          <a:xfrm rot="20781755">
            <a:off x="187135" y="2045042"/>
            <a:ext cx="2989921" cy="584775"/>
          </a:xfrm>
          <a:prstGeom prst="rect">
            <a:avLst/>
          </a:prstGeom>
          <a:solidFill>
            <a:srgbClr val="800000"/>
          </a:solidFill>
        </p:spPr>
        <p:txBody>
          <a:bodyPr wrap="none" rtlCol="0">
            <a:spAutoFit/>
          </a:bodyPr>
          <a:lstStyle/>
          <a:p>
            <a:pPr algn="ctr"/>
            <a:r>
              <a:rPr lang="de-DE" sz="1600" dirty="0" smtClean="0">
                <a:solidFill>
                  <a:schemeClr val="bg1"/>
                </a:solidFill>
              </a:rPr>
              <a:t>List </a:t>
            </a:r>
            <a:r>
              <a:rPr lang="de-DE" sz="1600" dirty="0" err="1" smtClean="0">
                <a:solidFill>
                  <a:schemeClr val="bg1"/>
                </a:solidFill>
              </a:rPr>
              <a:t>of</a:t>
            </a:r>
            <a:r>
              <a:rPr lang="de-DE" sz="1600" dirty="0" smtClean="0">
                <a:solidFill>
                  <a:schemeClr val="bg1"/>
                </a:solidFill>
              </a:rPr>
              <a:t> all </a:t>
            </a:r>
            <a:r>
              <a:rPr lang="de-DE" sz="1600" dirty="0" err="1" smtClean="0">
                <a:solidFill>
                  <a:schemeClr val="bg1"/>
                </a:solidFill>
              </a:rPr>
              <a:t>user</a:t>
            </a:r>
            <a:r>
              <a:rPr lang="de-DE" sz="1600" dirty="0" smtClean="0">
                <a:solidFill>
                  <a:schemeClr val="bg1"/>
                </a:solidFill>
              </a:rPr>
              <a:t> </a:t>
            </a:r>
            <a:r>
              <a:rPr lang="de-DE" sz="1600" dirty="0" err="1" smtClean="0">
                <a:solidFill>
                  <a:schemeClr val="bg1"/>
                </a:solidFill>
              </a:rPr>
              <a:t>stories</a:t>
            </a:r>
            <a:r>
              <a:rPr lang="de-DE" sz="1600" dirty="0" smtClean="0">
                <a:solidFill>
                  <a:schemeClr val="bg1"/>
                </a:solidFill>
              </a:rPr>
              <a:t/>
            </a:r>
            <a:br>
              <a:rPr lang="de-DE" sz="1600" dirty="0" smtClean="0">
                <a:solidFill>
                  <a:schemeClr val="bg1"/>
                </a:solidFill>
              </a:rPr>
            </a:br>
            <a:r>
              <a:rPr lang="de-DE" sz="1600" dirty="0" smtClean="0">
                <a:solidFill>
                  <a:schemeClr val="bg1"/>
                </a:solidFill>
              </a:rPr>
              <a:t>(</a:t>
            </a:r>
            <a:r>
              <a:rPr lang="de-DE" sz="1600" dirty="0" err="1" smtClean="0">
                <a:solidFill>
                  <a:schemeClr val="bg1"/>
                </a:solidFill>
              </a:rPr>
              <a:t>elementary</a:t>
            </a:r>
            <a:r>
              <a:rPr lang="de-DE" sz="1600" dirty="0" smtClean="0">
                <a:solidFill>
                  <a:schemeClr val="bg1"/>
                </a:solidFill>
              </a:rPr>
              <a:t> </a:t>
            </a:r>
            <a:r>
              <a:rPr lang="de-DE" sz="1600" dirty="0" err="1" smtClean="0">
                <a:solidFill>
                  <a:schemeClr val="bg1"/>
                </a:solidFill>
              </a:rPr>
              <a:t>requirements</a:t>
            </a:r>
            <a:r>
              <a:rPr lang="de-DE" sz="1600" dirty="0" smtClean="0">
                <a:solidFill>
                  <a:schemeClr val="bg1"/>
                </a:solidFill>
              </a:rPr>
              <a:t>)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94" name="Textfeld 93"/>
          <p:cNvSpPr txBox="1"/>
          <p:nvPr/>
        </p:nvSpPr>
        <p:spPr>
          <a:xfrm rot="20781755">
            <a:off x="2581263" y="3241786"/>
            <a:ext cx="1584088" cy="584775"/>
          </a:xfrm>
          <a:prstGeom prst="rect">
            <a:avLst/>
          </a:prstGeom>
          <a:solidFill>
            <a:srgbClr val="800000"/>
          </a:solidFill>
        </p:spPr>
        <p:txBody>
          <a:bodyPr wrap="none" rtlCol="0">
            <a:spAutoFit/>
          </a:bodyPr>
          <a:lstStyle/>
          <a:p>
            <a:r>
              <a:rPr lang="de-DE" sz="1600" dirty="0">
                <a:solidFill>
                  <a:schemeClr val="bg1"/>
                </a:solidFill>
              </a:rPr>
              <a:t>U</a:t>
            </a:r>
            <a:r>
              <a:rPr lang="de-DE" sz="1600" dirty="0" smtClean="0">
                <a:solidFill>
                  <a:schemeClr val="bg1"/>
                </a:solidFill>
              </a:rPr>
              <a:t>ser </a:t>
            </a:r>
            <a:r>
              <a:rPr lang="de-DE" sz="1600" dirty="0" err="1" smtClean="0">
                <a:solidFill>
                  <a:schemeClr val="bg1"/>
                </a:solidFill>
              </a:rPr>
              <a:t>stories</a:t>
            </a:r>
            <a:r>
              <a:rPr lang="de-DE" sz="1600" dirty="0" smtClean="0">
                <a:solidFill>
                  <a:schemeClr val="bg1"/>
                </a:solidFill>
              </a:rPr>
              <a:t/>
            </a:r>
            <a:br>
              <a:rPr lang="de-DE" sz="1600" dirty="0" smtClean="0">
                <a:solidFill>
                  <a:schemeClr val="bg1"/>
                </a:solidFill>
              </a:rPr>
            </a:br>
            <a:r>
              <a:rPr lang="de-DE" sz="1600" dirty="0" err="1" smtClean="0">
                <a:solidFill>
                  <a:schemeClr val="bg1"/>
                </a:solidFill>
              </a:rPr>
              <a:t>for</a:t>
            </a:r>
            <a:r>
              <a:rPr lang="de-DE" sz="1600" dirty="0" smtClean="0">
                <a:solidFill>
                  <a:schemeClr val="bg1"/>
                </a:solidFill>
              </a:rPr>
              <a:t> </a:t>
            </a:r>
            <a:r>
              <a:rPr lang="de-DE" sz="1600" dirty="0" err="1" smtClean="0">
                <a:solidFill>
                  <a:schemeClr val="bg1"/>
                </a:solidFill>
              </a:rPr>
              <a:t>next</a:t>
            </a:r>
            <a:r>
              <a:rPr lang="de-DE" sz="1600" dirty="0" smtClean="0">
                <a:solidFill>
                  <a:schemeClr val="bg1"/>
                </a:solidFill>
              </a:rPr>
              <a:t> </a:t>
            </a:r>
            <a:r>
              <a:rPr lang="de-DE" sz="1600" dirty="0" err="1" smtClean="0">
                <a:solidFill>
                  <a:schemeClr val="bg1"/>
                </a:solidFill>
              </a:rPr>
              <a:t>cycle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95" name="Textfeld 94"/>
          <p:cNvSpPr txBox="1"/>
          <p:nvPr/>
        </p:nvSpPr>
        <p:spPr>
          <a:xfrm>
            <a:off x="4450002" y="4345947"/>
            <a:ext cx="1255472" cy="338554"/>
          </a:xfrm>
          <a:prstGeom prst="rect">
            <a:avLst/>
          </a:prstGeom>
          <a:solidFill>
            <a:srgbClr val="800000"/>
          </a:solidFill>
        </p:spPr>
        <p:txBody>
          <a:bodyPr wrap="none" rtlCol="0">
            <a:spAutoFit/>
          </a:bodyPr>
          <a:lstStyle/>
          <a:p>
            <a:r>
              <a:rPr lang="de-DE" sz="1600" dirty="0" smtClean="0">
                <a:solidFill>
                  <a:schemeClr val="bg1"/>
                </a:solidFill>
              </a:rPr>
              <a:t>Next </a:t>
            </a:r>
            <a:r>
              <a:rPr lang="de-DE" sz="1600" dirty="0" err="1" smtClean="0">
                <a:solidFill>
                  <a:schemeClr val="bg1"/>
                </a:solidFill>
              </a:rPr>
              <a:t>cycle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96" name="Textfeld 95"/>
          <p:cNvSpPr txBox="1"/>
          <p:nvPr/>
        </p:nvSpPr>
        <p:spPr>
          <a:xfrm rot="21192864">
            <a:off x="4615860" y="1992898"/>
            <a:ext cx="1019831" cy="338554"/>
          </a:xfrm>
          <a:prstGeom prst="rect">
            <a:avLst/>
          </a:prstGeom>
          <a:solidFill>
            <a:srgbClr val="800000"/>
          </a:solidFill>
        </p:spPr>
        <p:txBody>
          <a:bodyPr wrap="none" rtlCol="0">
            <a:spAutoFit/>
          </a:bodyPr>
          <a:lstStyle/>
          <a:p>
            <a:r>
              <a:rPr lang="de-DE" sz="1600" dirty="0" smtClean="0">
                <a:solidFill>
                  <a:schemeClr val="bg1"/>
                </a:solidFill>
              </a:rPr>
              <a:t>Meeting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97" name="Textfeld 96"/>
          <p:cNvSpPr txBox="1"/>
          <p:nvPr/>
        </p:nvSpPr>
        <p:spPr>
          <a:xfrm rot="21192864">
            <a:off x="724639" y="5630171"/>
            <a:ext cx="1176925" cy="338554"/>
          </a:xfrm>
          <a:prstGeom prst="rect">
            <a:avLst/>
          </a:prstGeom>
          <a:solidFill>
            <a:srgbClr val="800000"/>
          </a:solidFill>
        </p:spPr>
        <p:txBody>
          <a:bodyPr wrap="none" rtlCol="0">
            <a:spAutoFit/>
          </a:bodyPr>
          <a:lstStyle/>
          <a:p>
            <a:r>
              <a:rPr lang="de-DE" sz="1600" dirty="0" smtClean="0">
                <a:solidFill>
                  <a:schemeClr val="bg1"/>
                </a:solidFill>
              </a:rPr>
              <a:t>Customer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98" name="Textfeld 97"/>
          <p:cNvSpPr txBox="1"/>
          <p:nvPr/>
        </p:nvSpPr>
        <p:spPr>
          <a:xfrm rot="227149">
            <a:off x="3295463" y="5170852"/>
            <a:ext cx="1338828" cy="338554"/>
          </a:xfrm>
          <a:prstGeom prst="rect">
            <a:avLst/>
          </a:prstGeom>
          <a:solidFill>
            <a:srgbClr val="800000"/>
          </a:solidFill>
        </p:spPr>
        <p:txBody>
          <a:bodyPr wrap="none" rtlCol="0">
            <a:spAutoFit/>
          </a:bodyPr>
          <a:lstStyle/>
          <a:p>
            <a:r>
              <a:rPr lang="de-DE" sz="1600" dirty="0" smtClean="0">
                <a:solidFill>
                  <a:schemeClr val="bg1"/>
                </a:solidFill>
              </a:rPr>
              <a:t>Developers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99" name="Textfeld 98"/>
          <p:cNvSpPr txBox="1"/>
          <p:nvPr/>
        </p:nvSpPr>
        <p:spPr>
          <a:xfrm>
            <a:off x="2209492" y="6342568"/>
            <a:ext cx="1087157" cy="338554"/>
          </a:xfrm>
          <a:prstGeom prst="rect">
            <a:avLst/>
          </a:prstGeom>
          <a:solidFill>
            <a:srgbClr val="800000"/>
          </a:solidFill>
        </p:spPr>
        <p:txBody>
          <a:bodyPr wrap="none" rtlCol="0">
            <a:spAutoFit/>
          </a:bodyPr>
          <a:lstStyle/>
          <a:p>
            <a:r>
              <a:rPr lang="de-DE" sz="1600" dirty="0" smtClean="0">
                <a:solidFill>
                  <a:schemeClr val="bg1"/>
                </a:solidFill>
              </a:rPr>
              <a:t>Manager</a:t>
            </a:r>
            <a:endParaRPr lang="de-DE" sz="1600" dirty="0">
              <a:solidFill>
                <a:schemeClr val="bg1"/>
              </a:solidFill>
            </a:endParaRPr>
          </a:p>
        </p:txBody>
      </p:sp>
      <p:sp>
        <p:nvSpPr>
          <p:cNvPr id="6" name="Textfeld 5"/>
          <p:cNvSpPr txBox="1"/>
          <p:nvPr/>
        </p:nvSpPr>
        <p:spPr>
          <a:xfrm>
            <a:off x="107504" y="5163579"/>
            <a:ext cx="10158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0" dirty="0" err="1" smtClean="0">
                <a:solidFill>
                  <a:srgbClr val="800000"/>
                </a:solidFill>
              </a:rPr>
              <a:t>Roles</a:t>
            </a:r>
            <a:r>
              <a:rPr lang="de-DE" b="0" dirty="0" smtClean="0">
                <a:solidFill>
                  <a:srgbClr val="800000"/>
                </a:solidFill>
              </a:rPr>
              <a:t>:</a:t>
            </a:r>
            <a:endParaRPr lang="de-DE" b="0" dirty="0">
              <a:solidFill>
                <a:srgbClr val="8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2090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Foliennummernplatzhalt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fld id="{03C85D58-244A-4EB2-988B-9F114627CEAD}" type="slidenum">
              <a:rPr lang="de-DE" altLang="de-DE" sz="1400" b="0" smtClean="0"/>
              <a:pPr eaLnBrk="1" hangingPunct="1"/>
              <a:t>19</a:t>
            </a:fld>
            <a:endParaRPr lang="de-DE" altLang="de-DE" sz="1400" b="0" smtClean="0"/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1439652" y="728700"/>
            <a:ext cx="7793038" cy="719931"/>
          </a:xfrm>
        </p:spPr>
        <p:txBody>
          <a:bodyPr/>
          <a:lstStyle/>
          <a:p>
            <a:pPr marL="342900" indent="-342900" eaLnBrk="1" hangingPunct="1"/>
            <a:r>
              <a:rPr lang="de-DE" altLang="de-DE" sz="3200" b="0" dirty="0" err="1" smtClean="0">
                <a:solidFill>
                  <a:srgbClr val="800000"/>
                </a:solidFill>
              </a:rPr>
              <a:t>Scrum</a:t>
            </a:r>
            <a:r>
              <a:rPr lang="de-DE" altLang="de-DE" sz="3200" b="0" dirty="0" smtClean="0">
                <a:solidFill>
                  <a:srgbClr val="800000"/>
                </a:solidFill>
              </a:rPr>
              <a:t> in </a:t>
            </a:r>
            <a:r>
              <a:rPr lang="de-DE" altLang="de-DE" sz="3200" dirty="0" err="1" smtClean="0">
                <a:solidFill>
                  <a:srgbClr val="800000"/>
                </a:solidFill>
              </a:rPr>
              <a:t>our</a:t>
            </a:r>
            <a:r>
              <a:rPr lang="de-DE" altLang="de-DE" sz="3200" b="0" dirty="0" smtClean="0">
                <a:solidFill>
                  <a:srgbClr val="800000"/>
                </a:solidFill>
              </a:rPr>
              <a:t> </a:t>
            </a:r>
            <a:r>
              <a:rPr lang="de-DE" altLang="de-DE" sz="3200" b="0" dirty="0" err="1" smtClean="0">
                <a:solidFill>
                  <a:srgbClr val="800000"/>
                </a:solidFill>
              </a:rPr>
              <a:t>project</a:t>
            </a:r>
            <a:r>
              <a:rPr lang="de-DE" altLang="de-DE" sz="3200" b="0" dirty="0" smtClean="0">
                <a:solidFill>
                  <a:srgbClr val="800000"/>
                </a:solidFill>
              </a:rPr>
              <a:t> (1)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992426" y="2060848"/>
            <a:ext cx="7847598" cy="38164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200" b="0" dirty="0" smtClean="0"/>
          </a:p>
          <a:p>
            <a:r>
              <a:rPr lang="de-DE" sz="2200" b="0" dirty="0" err="1" smtClean="0"/>
              <a:t>Roles</a:t>
            </a:r>
            <a:r>
              <a:rPr lang="de-DE" sz="2200" b="0" dirty="0" smtClean="0"/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b="0" dirty="0" err="1" smtClean="0"/>
              <a:t>Product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owner</a:t>
            </a:r>
            <a:r>
              <a:rPr lang="de-DE" sz="2200" b="0" dirty="0" smtClean="0"/>
              <a:t>: </a:t>
            </a:r>
            <a:r>
              <a:rPr lang="de-DE" sz="2200" b="0" dirty="0" err="1" smtClean="0"/>
              <a:t>Capgemini</a:t>
            </a:r>
            <a:endParaRPr lang="de-DE" sz="22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b="0" dirty="0" smtClean="0"/>
              <a:t>Team: </a:t>
            </a:r>
            <a:r>
              <a:rPr lang="de-DE" sz="2200" b="0" dirty="0" err="1" smtClean="0"/>
              <a:t>students</a:t>
            </a:r>
            <a:endParaRPr lang="de-DE" sz="22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b="0" dirty="0" err="1" smtClean="0"/>
              <a:t>Scrum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master</a:t>
            </a:r>
            <a:r>
              <a:rPr lang="de-DE" sz="2200" b="0" dirty="0" smtClean="0"/>
              <a:t>: </a:t>
            </a:r>
            <a:r>
              <a:rPr lang="de-DE" sz="2200" b="0" dirty="0" err="1" smtClean="0"/>
              <a:t>somebody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of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the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team</a:t>
            </a:r>
            <a:r>
              <a:rPr lang="de-DE" sz="2200" b="0" dirty="0" smtClean="0"/>
              <a:t> (</a:t>
            </a:r>
            <a:r>
              <a:rPr lang="de-DE" sz="2200" b="0" dirty="0" err="1" smtClean="0"/>
              <a:t>changing</a:t>
            </a:r>
            <a:r>
              <a:rPr lang="de-DE" sz="2200" b="0" dirty="0" smtClean="0"/>
              <a:t> in </a:t>
            </a:r>
            <a:r>
              <a:rPr lang="de-DE" sz="2200" b="0" dirty="0" err="1" smtClean="0"/>
              <a:t>sprints</a:t>
            </a:r>
            <a:r>
              <a:rPr lang="de-DE" sz="2200" b="0" dirty="0" smtClean="0"/>
              <a:t>)</a:t>
            </a:r>
          </a:p>
          <a:p>
            <a:endParaRPr lang="de-DE" sz="2200" b="0" dirty="0" smtClean="0"/>
          </a:p>
          <a:p>
            <a:r>
              <a:rPr lang="de-DE" sz="2200" b="0" dirty="0" smtClean="0"/>
              <a:t>Schedul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b="0" dirty="0" err="1" smtClean="0"/>
              <a:t>Beginning</a:t>
            </a:r>
            <a:r>
              <a:rPr lang="de-DE" sz="2200" b="0" dirty="0" smtClean="0"/>
              <a:t>: </a:t>
            </a:r>
            <a:r>
              <a:rPr lang="de-DE" sz="2200" b="0" dirty="0" err="1" smtClean="0"/>
              <a:t>members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suggested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user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stories</a:t>
            </a:r>
            <a:r>
              <a:rPr lang="de-DE" sz="2200" b="0" dirty="0" smtClean="0"/>
              <a:t>,</a:t>
            </a:r>
            <a:r>
              <a:rPr lang="de-DE" sz="2200" b="0" dirty="0" smtClean="0"/>
              <a:t/>
            </a:r>
            <a:br>
              <a:rPr lang="de-DE" sz="2200" b="0" dirty="0" smtClean="0"/>
            </a:br>
            <a:r>
              <a:rPr lang="de-DE" sz="2200" b="0" dirty="0" smtClean="0"/>
              <a:t>   </a:t>
            </a:r>
            <a:r>
              <a:rPr lang="de-DE" sz="2200" b="0" dirty="0" err="1" smtClean="0"/>
              <a:t>accepted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by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product</a:t>
            </a:r>
            <a:r>
              <a:rPr lang="de-DE" sz="2200" b="0" dirty="0" smtClean="0"/>
              <a:t> </a:t>
            </a:r>
            <a:r>
              <a:rPr lang="de-DE" sz="2200" b="0" dirty="0" err="1" smtClean="0"/>
              <a:t>owner</a:t>
            </a:r>
            <a:endParaRPr lang="de-DE" sz="22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b="0" dirty="0" smtClean="0"/>
              <a:t>4 </a:t>
            </a:r>
            <a:r>
              <a:rPr lang="de-DE" sz="2200" b="0" dirty="0" err="1" smtClean="0"/>
              <a:t>sprints</a:t>
            </a:r>
            <a:endParaRPr lang="de-DE" sz="2200" b="0" dirty="0" smtClean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b="0" dirty="0" err="1" smtClean="0">
                <a:sym typeface="Wingdings" panose="05000000000000000000" pitchFamily="2" charset="2"/>
              </a:rPr>
              <a:t>Each</a:t>
            </a:r>
            <a:r>
              <a:rPr lang="de-DE" sz="2200" b="0" dirty="0" smtClean="0">
                <a:sym typeface="Wingdings" panose="05000000000000000000" pitchFamily="2" charset="2"/>
              </a:rPr>
              <a:t> 3 </a:t>
            </a:r>
            <a:r>
              <a:rPr lang="de-DE" sz="2200" b="0" dirty="0" err="1" smtClean="0">
                <a:sym typeface="Wingdings" panose="05000000000000000000" pitchFamily="2" charset="2"/>
              </a:rPr>
              <a:t>weeks</a:t>
            </a:r>
            <a:endParaRPr lang="de-DE" sz="2200" b="0" dirty="0" smtClean="0">
              <a:sym typeface="Wingdings" panose="05000000000000000000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1924448177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"/>
          <p:cNvSpPr>
            <a:spLocks noChangeArrowheads="1"/>
          </p:cNvSpPr>
          <p:nvPr/>
        </p:nvSpPr>
        <p:spPr bwMode="auto">
          <a:xfrm>
            <a:off x="215900" y="2241550"/>
            <a:ext cx="8604250" cy="503374"/>
          </a:xfrm>
          <a:prstGeom prst="rect">
            <a:avLst/>
          </a:prstGeom>
          <a:gradFill rotWithShape="1">
            <a:gsLst>
              <a:gs pos="0">
                <a:srgbClr val="FFCC00">
                  <a:alpha val="50000"/>
                </a:srgbClr>
              </a:gs>
              <a:gs pos="100000">
                <a:srgbClr val="765E00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147" name="AutoShap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smtClean="0"/>
              <a:t>Contents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82600" y="1700808"/>
            <a:ext cx="8661400" cy="4573587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en-US" altLang="de-DE" dirty="0" smtClean="0"/>
          </a:p>
          <a:p>
            <a:pPr eaLnBrk="1" hangingPunct="1"/>
            <a:r>
              <a:rPr lang="en-US" altLang="de-DE" sz="2400" dirty="0" smtClean="0"/>
              <a:t>Bachelor Curriculum at HU</a:t>
            </a:r>
          </a:p>
          <a:p>
            <a:pPr eaLnBrk="1" hangingPunct="1"/>
            <a:r>
              <a:rPr lang="en-US" altLang="de-DE" sz="2400" dirty="0" smtClean="0"/>
              <a:t>Cooperation with a Company at a Semester Project </a:t>
            </a:r>
            <a:br>
              <a:rPr lang="en-US" altLang="de-DE" sz="2400" dirty="0" smtClean="0"/>
            </a:br>
            <a:r>
              <a:rPr lang="en-US" altLang="de-DE" sz="2400" dirty="0" smtClean="0"/>
              <a:t>during WS 2014/15</a:t>
            </a:r>
          </a:p>
          <a:p>
            <a:pPr eaLnBrk="1" hangingPunct="1"/>
            <a:r>
              <a:rPr lang="en-US" altLang="de-DE" sz="2400" dirty="0" smtClean="0"/>
              <a:t>Task, Special Features and Technology</a:t>
            </a:r>
          </a:p>
          <a:p>
            <a:pPr eaLnBrk="1" hangingPunct="1"/>
            <a:r>
              <a:rPr lang="en-US" altLang="de-DE" sz="2400" dirty="0" smtClean="0"/>
              <a:t>Agile Development with Scrum</a:t>
            </a:r>
          </a:p>
          <a:p>
            <a:pPr eaLnBrk="1" hangingPunct="1"/>
            <a:r>
              <a:rPr lang="en-US" altLang="de-DE" sz="2400" dirty="0" smtClean="0"/>
              <a:t>Agenda and Results</a:t>
            </a:r>
          </a:p>
          <a:p>
            <a:pPr eaLnBrk="1" hangingPunct="1"/>
            <a:r>
              <a:rPr lang="en-US" altLang="de-DE" sz="2400" dirty="0" smtClean="0"/>
              <a:t>Conclusion</a:t>
            </a:r>
          </a:p>
        </p:txBody>
      </p:sp>
    </p:spTree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Foliennummernplatzhalt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fld id="{03C85D58-244A-4EB2-988B-9F114627CEAD}" type="slidenum">
              <a:rPr lang="de-DE" altLang="de-DE" sz="1400" b="0" smtClean="0"/>
              <a:pPr eaLnBrk="1" hangingPunct="1"/>
              <a:t>20</a:t>
            </a:fld>
            <a:endParaRPr lang="de-DE" altLang="de-DE" sz="1400" b="0" smtClean="0"/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1439652" y="728700"/>
            <a:ext cx="7793038" cy="719931"/>
          </a:xfrm>
        </p:spPr>
        <p:txBody>
          <a:bodyPr/>
          <a:lstStyle/>
          <a:p>
            <a:pPr marL="342900" indent="-342900" eaLnBrk="1" hangingPunct="1"/>
            <a:r>
              <a:rPr lang="de-DE" altLang="de-DE" sz="3200" b="0" dirty="0" err="1" smtClean="0">
                <a:solidFill>
                  <a:srgbClr val="800000"/>
                </a:solidFill>
              </a:rPr>
              <a:t>Scrum</a:t>
            </a:r>
            <a:r>
              <a:rPr lang="de-DE" altLang="de-DE" sz="3200" b="0" dirty="0" smtClean="0">
                <a:solidFill>
                  <a:srgbClr val="800000"/>
                </a:solidFill>
              </a:rPr>
              <a:t> in </a:t>
            </a:r>
            <a:r>
              <a:rPr lang="de-DE" altLang="de-DE" sz="3200" dirty="0" err="1" smtClean="0">
                <a:solidFill>
                  <a:srgbClr val="800000"/>
                </a:solidFill>
              </a:rPr>
              <a:t>our</a:t>
            </a:r>
            <a:r>
              <a:rPr lang="de-DE" altLang="de-DE" sz="3200" b="0" dirty="0" smtClean="0">
                <a:solidFill>
                  <a:srgbClr val="800000"/>
                </a:solidFill>
              </a:rPr>
              <a:t> </a:t>
            </a:r>
            <a:r>
              <a:rPr lang="de-DE" altLang="de-DE" sz="3200" b="0" dirty="0" err="1" smtClean="0">
                <a:solidFill>
                  <a:srgbClr val="800000"/>
                </a:solidFill>
              </a:rPr>
              <a:t>project</a:t>
            </a:r>
            <a:r>
              <a:rPr lang="de-DE" altLang="de-DE" sz="3200" b="0" dirty="0" smtClean="0">
                <a:solidFill>
                  <a:srgbClr val="800000"/>
                </a:solidFill>
              </a:rPr>
              <a:t> (2)</a:t>
            </a:r>
          </a:p>
        </p:txBody>
      </p:sp>
      <p:sp>
        <p:nvSpPr>
          <p:cNvPr id="4" name="Textfeld 3"/>
          <p:cNvSpPr txBox="1"/>
          <p:nvPr/>
        </p:nvSpPr>
        <p:spPr>
          <a:xfrm>
            <a:off x="563694" y="2024844"/>
            <a:ext cx="8364790" cy="31393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e-DE" sz="2200" b="0" dirty="0" smtClean="0"/>
          </a:p>
          <a:p>
            <a:r>
              <a:rPr lang="de-DE" sz="2200" b="0" dirty="0" smtClean="0">
                <a:sym typeface="Wingdings" panose="05000000000000000000" pitchFamily="2" charset="2"/>
              </a:rPr>
              <a:t>Sprint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b="0" dirty="0" smtClean="0">
                <a:sym typeface="Wingdings" panose="05000000000000000000" pitchFamily="2" charset="2"/>
              </a:rPr>
              <a:t>Start: </a:t>
            </a:r>
            <a:r>
              <a:rPr lang="de-DE" sz="2200" b="0" dirty="0" err="1" smtClean="0">
                <a:sym typeface="Wingdings" panose="05000000000000000000" pitchFamily="2" charset="2"/>
              </a:rPr>
              <a:t>sprint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planning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meeting</a:t>
            </a:r>
            <a:r>
              <a:rPr lang="de-DE" sz="2200" b="0" dirty="0" smtClean="0">
                <a:sym typeface="Wingdings" panose="05000000000000000000" pitchFamily="2" charset="2"/>
              </a:rPr>
              <a:t>: </a:t>
            </a:r>
            <a:r>
              <a:rPr lang="de-DE" sz="2200" b="0" dirty="0" err="1" smtClean="0">
                <a:sym typeface="Wingdings" panose="05000000000000000000" pitchFamily="2" charset="2"/>
              </a:rPr>
              <a:t>selection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of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next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user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stories</a:t>
            </a:r>
            <a:r>
              <a:rPr lang="de-DE" sz="2200" b="0" dirty="0">
                <a:sym typeface="Wingdings" panose="05000000000000000000" pitchFamily="2" charset="2"/>
              </a:rPr>
              <a:t> </a:t>
            </a:r>
            <a:r>
              <a:rPr lang="de-DE" sz="2200" b="0" dirty="0" smtClean="0">
                <a:sym typeface="Wingdings" panose="05000000000000000000" pitchFamily="2" charset="2"/>
              </a:rPr>
              <a:t>…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b="0" dirty="0" smtClean="0">
                <a:sym typeface="Wingdings" panose="05000000000000000000" pitchFamily="2" charset="2"/>
              </a:rPr>
              <a:t>… </a:t>
            </a:r>
            <a:r>
              <a:rPr lang="de-DE" sz="2200" b="0" dirty="0" err="1" smtClean="0">
                <a:sym typeface="Wingdings" panose="05000000000000000000" pitchFamily="2" charset="2"/>
              </a:rPr>
              <a:t>with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estimation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of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effort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by</a:t>
            </a:r>
            <a:r>
              <a:rPr lang="de-DE" sz="2200" b="0" dirty="0" smtClean="0">
                <a:sym typeface="Wingdings" panose="05000000000000000000" pitchFamily="2" charset="2"/>
              </a:rPr>
              <a:t> agile </a:t>
            </a:r>
            <a:r>
              <a:rPr lang="de-DE" sz="2200" b="0" dirty="0" err="1" smtClean="0">
                <a:sym typeface="Wingdings" panose="05000000000000000000" pitchFamily="2" charset="2"/>
              </a:rPr>
              <a:t>points</a:t>
            </a:r>
            <a:r>
              <a:rPr lang="de-DE" sz="2200" b="0" dirty="0" smtClean="0">
                <a:sym typeface="Wingdings" panose="05000000000000000000" pitchFamily="2" charset="2"/>
              </a:rPr>
              <a:t> (like </a:t>
            </a:r>
            <a:r>
              <a:rPr lang="de-DE" sz="2200" b="0" dirty="0" err="1" smtClean="0">
                <a:sym typeface="Wingdings" panose="05000000000000000000" pitchFamily="2" charset="2"/>
              </a:rPr>
              <a:t>function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points</a:t>
            </a:r>
            <a:r>
              <a:rPr lang="de-DE" sz="2200" b="0" dirty="0" smtClean="0">
                <a:sym typeface="Wingdings" panose="05000000000000000000" pitchFamily="2" charset="2"/>
              </a:rPr>
              <a:t>)</a:t>
            </a:r>
            <a:br>
              <a:rPr lang="de-DE" sz="2200" b="0" dirty="0" smtClean="0">
                <a:sym typeface="Wingdings" panose="05000000000000000000" pitchFamily="2" charset="2"/>
              </a:rPr>
            </a:br>
            <a:r>
              <a:rPr lang="de-DE" sz="2200" b="0" dirty="0" smtClean="0">
                <a:sym typeface="Wingdings" panose="05000000000000000000" pitchFamily="2" charset="2"/>
              </a:rPr>
              <a:t> </a:t>
            </a:r>
            <a:r>
              <a:rPr lang="de-DE" sz="2200" b="0" dirty="0" err="1" smtClean="0">
                <a:sym typeface="Wingdings" panose="05000000000000000000" pitchFamily="2" charset="2"/>
              </a:rPr>
              <a:t>each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team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member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estimates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the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effort</a:t>
            </a:r>
            <a:r>
              <a:rPr lang="de-DE" sz="2200" b="0" dirty="0" smtClean="0">
                <a:sym typeface="Wingdings" panose="05000000000000000000" pitchFamily="2" charset="2"/>
              </a:rPr>
              <a:t>, </a:t>
            </a:r>
            <a:br>
              <a:rPr lang="de-DE" sz="2200" b="0" dirty="0" smtClean="0">
                <a:sym typeface="Wingdings" panose="05000000000000000000" pitchFamily="2" charset="2"/>
              </a:rPr>
            </a:br>
            <a:r>
              <a:rPr lang="de-DE" sz="2200" b="0" dirty="0" smtClean="0">
                <a:sym typeface="Wingdings" panose="05000000000000000000" pitchFamily="2" charset="2"/>
              </a:rPr>
              <a:t>    </a:t>
            </a:r>
            <a:r>
              <a:rPr lang="de-DE" sz="2200" b="0" dirty="0" err="1" smtClean="0">
                <a:sym typeface="Wingdings" panose="05000000000000000000" pitchFamily="2" charset="2"/>
              </a:rPr>
              <a:t>discussion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and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reasons</a:t>
            </a:r>
            <a:r>
              <a:rPr lang="de-DE" sz="2200" b="0" dirty="0" smtClean="0">
                <a:sym typeface="Wingdings" panose="05000000000000000000" pitchFamily="2" charset="2"/>
              </a:rPr>
              <a:t>,</a:t>
            </a:r>
            <a:br>
              <a:rPr lang="de-DE" sz="2200" b="0" dirty="0" smtClean="0">
                <a:sym typeface="Wingdings" panose="05000000000000000000" pitchFamily="2" charset="2"/>
              </a:rPr>
            </a:br>
            <a:r>
              <a:rPr lang="de-DE" sz="2200" b="0" dirty="0" smtClean="0">
                <a:sym typeface="Wingdings" panose="05000000000000000000" pitchFamily="2" charset="2"/>
              </a:rPr>
              <a:t>    </a:t>
            </a:r>
            <a:r>
              <a:rPr lang="de-DE" sz="2200" b="0" dirty="0" err="1" smtClean="0">
                <a:sym typeface="Wingdings" panose="05000000000000000000" pitchFamily="2" charset="2"/>
              </a:rPr>
              <a:t>ends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up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with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team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>
                <a:sym typeface="Wingdings" panose="05000000000000000000" pitchFamily="2" charset="2"/>
              </a:rPr>
              <a:t>a</a:t>
            </a:r>
            <a:r>
              <a:rPr lang="de-DE" sz="2200" b="0" dirty="0" err="1" smtClean="0">
                <a:sym typeface="Wingdings" panose="05000000000000000000" pitchFamily="2" charset="2"/>
              </a:rPr>
              <a:t>ssessment</a:t>
            </a:r>
            <a:endParaRPr lang="de-DE" sz="2200" b="0" dirty="0" smtClean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b="0" dirty="0" smtClean="0">
                <a:sym typeface="Wingdings" panose="05000000000000000000" pitchFamily="2" charset="2"/>
              </a:rPr>
              <a:t>End: </a:t>
            </a:r>
            <a:r>
              <a:rPr lang="de-DE" sz="2200" b="0" dirty="0" err="1" smtClean="0">
                <a:sym typeface="Wingdings" panose="05000000000000000000" pitchFamily="2" charset="2"/>
              </a:rPr>
              <a:t>sprint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results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presentation</a:t>
            </a:r>
            <a:endParaRPr lang="de-DE" sz="2200" b="0" dirty="0" smtClean="0">
              <a:sym typeface="Wingdings" panose="05000000000000000000" pitchFamily="2" charset="2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200" b="0" dirty="0" smtClean="0">
                <a:sym typeface="Wingdings" panose="05000000000000000000" pitchFamily="2" charset="2"/>
              </a:rPr>
              <a:t>Daily </a:t>
            </a:r>
            <a:r>
              <a:rPr lang="de-DE" sz="2200" b="0" dirty="0" err="1" smtClean="0">
                <a:sym typeface="Wingdings" panose="05000000000000000000" pitchFamily="2" charset="2"/>
              </a:rPr>
              <a:t>scrum</a:t>
            </a:r>
            <a:r>
              <a:rPr lang="de-DE" sz="2200" b="0" dirty="0" smtClean="0">
                <a:sym typeface="Wingdings" panose="05000000000000000000" pitchFamily="2" charset="2"/>
              </a:rPr>
              <a:t>  </a:t>
            </a:r>
            <a:r>
              <a:rPr lang="de-DE" sz="2200" b="0" dirty="0" err="1" smtClean="0">
                <a:sym typeface="Wingdings" panose="05000000000000000000" pitchFamily="2" charset="2"/>
              </a:rPr>
              <a:t>weekly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scrum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by</a:t>
            </a:r>
            <a:r>
              <a:rPr lang="de-DE" sz="2200" b="0" dirty="0" smtClean="0">
                <a:sym typeface="Wingdings" panose="05000000000000000000" pitchFamily="2" charset="2"/>
              </a:rPr>
              <a:t> Skype (2 </a:t>
            </a:r>
            <a:r>
              <a:rPr lang="de-DE" sz="2200" b="0" dirty="0" err="1" smtClean="0">
                <a:sym typeface="Wingdings" panose="05000000000000000000" pitchFamily="2" charset="2"/>
              </a:rPr>
              <a:t>times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the</a:t>
            </a:r>
            <a:r>
              <a:rPr lang="de-DE" sz="2200" b="0" dirty="0" smtClean="0">
                <a:sym typeface="Wingdings" panose="05000000000000000000" pitchFamily="2" charset="2"/>
              </a:rPr>
              <a:t> </a:t>
            </a:r>
            <a:r>
              <a:rPr lang="de-DE" sz="2200" b="0" dirty="0" err="1" smtClean="0">
                <a:sym typeface="Wingdings" panose="05000000000000000000" pitchFamily="2" charset="2"/>
              </a:rPr>
              <a:t>week</a:t>
            </a:r>
            <a:r>
              <a:rPr lang="de-DE" sz="2200" b="0" dirty="0" smtClean="0">
                <a:sym typeface="Wingdings" panose="05000000000000000000" pitchFamily="2" charset="2"/>
              </a:rPr>
              <a:t>)</a:t>
            </a:r>
            <a:endParaRPr lang="de-DE" sz="2200" b="0" dirty="0" smtClean="0"/>
          </a:p>
        </p:txBody>
      </p:sp>
    </p:spTree>
    <p:extLst>
      <p:ext uri="{BB962C8B-B14F-4D97-AF65-F5344CB8AC3E}">
        <p14:creationId xmlns:p14="http://schemas.microsoft.com/office/powerpoint/2010/main" val="3851716131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"/>
          <p:cNvSpPr>
            <a:spLocks noChangeArrowheads="1"/>
          </p:cNvSpPr>
          <p:nvPr/>
        </p:nvSpPr>
        <p:spPr bwMode="auto">
          <a:xfrm>
            <a:off x="215900" y="4401790"/>
            <a:ext cx="8604250" cy="503374"/>
          </a:xfrm>
          <a:prstGeom prst="rect">
            <a:avLst/>
          </a:prstGeom>
          <a:gradFill rotWithShape="1">
            <a:gsLst>
              <a:gs pos="0">
                <a:srgbClr val="FFCC00">
                  <a:alpha val="50000"/>
                </a:srgbClr>
              </a:gs>
              <a:gs pos="100000">
                <a:srgbClr val="765E00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147" name="AutoShap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smtClean="0"/>
              <a:t>Contents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82600" y="1700808"/>
            <a:ext cx="8661400" cy="4573587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en-US" altLang="de-DE" dirty="0" smtClean="0"/>
          </a:p>
          <a:p>
            <a:pPr eaLnBrk="1" hangingPunct="1"/>
            <a:r>
              <a:rPr lang="en-US" altLang="de-DE" sz="2400" dirty="0" smtClean="0"/>
              <a:t>Bachelor Curriculum at HU</a:t>
            </a:r>
          </a:p>
          <a:p>
            <a:pPr eaLnBrk="1" hangingPunct="1"/>
            <a:r>
              <a:rPr lang="en-US" altLang="de-DE" sz="2400" dirty="0" smtClean="0"/>
              <a:t>Cooperation with a Company at a Semester Project during WS 2014/15</a:t>
            </a:r>
          </a:p>
          <a:p>
            <a:pPr eaLnBrk="1" hangingPunct="1"/>
            <a:r>
              <a:rPr lang="en-US" altLang="de-DE" sz="2400" dirty="0" smtClean="0"/>
              <a:t>Task, Special Features and Technology </a:t>
            </a:r>
          </a:p>
          <a:p>
            <a:pPr eaLnBrk="1" hangingPunct="1"/>
            <a:r>
              <a:rPr lang="en-US" altLang="de-DE" sz="2400" dirty="0" smtClean="0"/>
              <a:t>Agile Development with Scrum</a:t>
            </a:r>
          </a:p>
          <a:p>
            <a:pPr eaLnBrk="1" hangingPunct="1"/>
            <a:r>
              <a:rPr lang="en-US" altLang="de-DE" sz="2400" dirty="0" smtClean="0"/>
              <a:t>Agenda and Results</a:t>
            </a:r>
          </a:p>
          <a:p>
            <a:pPr eaLnBrk="1" hangingPunct="1"/>
            <a:r>
              <a:rPr lang="en-US" altLang="de-DE" sz="2400" dirty="0" smtClean="0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4040858576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63588" y="2276872"/>
            <a:ext cx="7793037" cy="3492388"/>
          </a:xfrm>
        </p:spPr>
        <p:txBody>
          <a:bodyPr/>
          <a:lstStyle/>
          <a:p>
            <a:r>
              <a:rPr lang="de-DE" sz="3600" dirty="0" smtClean="0"/>
              <a:t>Agenda: </a:t>
            </a:r>
            <a:br>
              <a:rPr lang="de-DE" sz="3600" dirty="0" smtClean="0"/>
            </a:br>
            <a:r>
              <a:rPr lang="de-DE" sz="3600" dirty="0" smtClean="0"/>
              <a:t/>
            </a:r>
            <a:br>
              <a:rPr lang="de-DE" sz="3600" dirty="0" smtClean="0"/>
            </a:br>
            <a:r>
              <a:rPr lang="de-DE" sz="3200" dirty="0" smtClean="0"/>
              <a:t>- </a:t>
            </a:r>
            <a:r>
              <a:rPr lang="de-DE" sz="3200" dirty="0" err="1" smtClean="0"/>
              <a:t>strict</a:t>
            </a:r>
            <a:r>
              <a:rPr lang="de-DE" sz="3200" dirty="0" smtClean="0"/>
              <a:t> </a:t>
            </a:r>
            <a:r>
              <a:rPr lang="de-DE" sz="3200" dirty="0" err="1" smtClean="0"/>
              <a:t>timing</a:t>
            </a:r>
            <a:r>
              <a:rPr lang="de-DE" sz="3200" dirty="0" smtClean="0"/>
              <a:t> </a:t>
            </a:r>
            <a:r>
              <a:rPr lang="de-DE" sz="3200" dirty="0" err="1" smtClean="0"/>
              <a:t>of</a:t>
            </a:r>
            <a:r>
              <a:rPr lang="de-DE" sz="3200" dirty="0" smtClean="0"/>
              <a:t> </a:t>
            </a:r>
            <a:r>
              <a:rPr lang="de-DE" sz="3200" dirty="0" err="1" smtClean="0"/>
              <a:t>activities</a:t>
            </a:r>
            <a:r>
              <a:rPr lang="de-DE" sz="3200" dirty="0" smtClean="0"/>
              <a:t/>
            </a:r>
            <a:br>
              <a:rPr lang="de-DE" sz="3200" dirty="0" smtClean="0"/>
            </a:br>
            <a:r>
              <a:rPr lang="de-DE" sz="3200" dirty="0"/>
              <a:t> </a:t>
            </a:r>
            <a:r>
              <a:rPr lang="de-DE" sz="3200" dirty="0" smtClean="0"/>
              <a:t>   (</a:t>
            </a:r>
            <a:r>
              <a:rPr lang="de-DE" sz="3200" dirty="0" err="1" smtClean="0"/>
              <a:t>restriction</a:t>
            </a:r>
            <a:r>
              <a:rPr lang="de-DE" sz="3200" dirty="0" smtClean="0"/>
              <a:t> </a:t>
            </a:r>
            <a:r>
              <a:rPr lang="de-DE" sz="3200" dirty="0" err="1" smtClean="0"/>
              <a:t>to</a:t>
            </a:r>
            <a:r>
              <a:rPr lang="de-DE" sz="3200" dirty="0" smtClean="0"/>
              <a:t> a </a:t>
            </a:r>
            <a:r>
              <a:rPr lang="de-DE" sz="3200" dirty="0" err="1" smtClean="0"/>
              <a:t>semester</a:t>
            </a:r>
            <a:r>
              <a:rPr lang="de-DE" sz="3200" dirty="0" smtClean="0"/>
              <a:t>: 16 </a:t>
            </a:r>
            <a:r>
              <a:rPr lang="de-DE" sz="3200" dirty="0" err="1" smtClean="0"/>
              <a:t>weeks</a:t>
            </a:r>
            <a:r>
              <a:rPr lang="de-DE" sz="3200" dirty="0" smtClean="0"/>
              <a:t>)</a:t>
            </a:r>
            <a:br>
              <a:rPr lang="de-DE" sz="3200" dirty="0" smtClean="0"/>
            </a:br>
            <a:r>
              <a:rPr lang="de-DE" sz="3200" dirty="0" smtClean="0"/>
              <a:t/>
            </a:r>
            <a:br>
              <a:rPr lang="de-DE" sz="3200" dirty="0" smtClean="0"/>
            </a:br>
            <a:r>
              <a:rPr lang="de-DE" sz="3200" dirty="0" smtClean="0"/>
              <a:t>- </a:t>
            </a:r>
            <a:r>
              <a:rPr lang="de-DE" sz="3200" dirty="0" err="1" smtClean="0"/>
              <a:t>extended</a:t>
            </a:r>
            <a:r>
              <a:rPr lang="de-DE" sz="3200" dirty="0" smtClean="0"/>
              <a:t> </a:t>
            </a:r>
            <a:r>
              <a:rPr lang="de-DE" sz="3200" dirty="0" err="1" smtClean="0"/>
              <a:t>by</a:t>
            </a:r>
            <a:r>
              <a:rPr lang="de-DE" sz="3200" dirty="0" smtClean="0"/>
              <a:t> </a:t>
            </a:r>
            <a:r>
              <a:rPr lang="de-DE" sz="3200" dirty="0" err="1" smtClean="0"/>
              <a:t>documentation</a:t>
            </a:r>
            <a:r>
              <a:rPr lang="de-DE" sz="3200" dirty="0" smtClean="0"/>
              <a:t> </a:t>
            </a:r>
            <a:r>
              <a:rPr lang="de-DE" sz="3200" dirty="0" err="1" smtClean="0"/>
              <a:t>of</a:t>
            </a:r>
            <a:r>
              <a:rPr lang="de-DE" sz="3200" dirty="0" smtClean="0"/>
              <a:t> </a:t>
            </a:r>
            <a:r>
              <a:rPr lang="de-DE" sz="3200" dirty="0" err="1" smtClean="0"/>
              <a:t>activities</a:t>
            </a:r>
            <a:r>
              <a:rPr lang="de-DE" sz="3200" dirty="0" smtClean="0"/>
              <a:t>, </a:t>
            </a:r>
            <a:br>
              <a:rPr lang="de-DE" sz="3200" dirty="0" smtClean="0"/>
            </a:br>
            <a:r>
              <a:rPr lang="de-DE" sz="3200" dirty="0" smtClean="0"/>
              <a:t>    </a:t>
            </a:r>
            <a:r>
              <a:rPr lang="de-DE" sz="3200" dirty="0" err="1" smtClean="0"/>
              <a:t>agreements</a:t>
            </a:r>
            <a:r>
              <a:rPr lang="de-DE" sz="3200" dirty="0" smtClean="0"/>
              <a:t>, </a:t>
            </a:r>
            <a:r>
              <a:rPr lang="de-DE" sz="3200" dirty="0" err="1" smtClean="0"/>
              <a:t>discussions</a:t>
            </a:r>
            <a:r>
              <a:rPr lang="de-DE" sz="3600" dirty="0" smtClean="0"/>
              <a:t> </a:t>
            </a:r>
            <a:endParaRPr lang="de-DE" sz="40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41DD31-796B-47D9-8FA7-8CE45BCCA82B}" type="slidenum">
              <a:rPr lang="de-DE" smtClean="0"/>
              <a:pPr>
                <a:defRPr/>
              </a:pPr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57320524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99592" y="116632"/>
            <a:ext cx="7344816" cy="491778"/>
          </a:xfrm>
        </p:spPr>
        <p:txBody>
          <a:bodyPr/>
          <a:lstStyle/>
          <a:p>
            <a:pPr lvl="0" eaLnBrk="1" hangingPunct="1"/>
            <a:r>
              <a:rPr lang="de-DE" sz="2400" b="1" kern="1200" dirty="0" smtClean="0">
                <a:solidFill>
                  <a:srgbClr val="000000"/>
                </a:solidFill>
                <a:latin typeface="Tahoma" pitchFamily="34" charset="0"/>
                <a:ea typeface="+mn-ea"/>
                <a:cs typeface="Arial" charset="0"/>
              </a:rPr>
              <a:t>Agenda: Deadlines</a:t>
            </a:r>
            <a:r>
              <a:rPr lang="de-DE" sz="2400" b="1" kern="1200" dirty="0">
                <a:solidFill>
                  <a:srgbClr val="000000"/>
                </a:solidFill>
                <a:latin typeface="Tahoma" pitchFamily="34" charset="0"/>
                <a:ea typeface="+mn-ea"/>
                <a:cs typeface="Arial" charset="0"/>
              </a:rPr>
              <a:t>, Tasks, Topics, </a:t>
            </a:r>
            <a:r>
              <a:rPr lang="de-DE" sz="2400" b="1" kern="1200" dirty="0" err="1" smtClean="0">
                <a:solidFill>
                  <a:srgbClr val="000000"/>
                </a:solidFill>
                <a:latin typeface="Tahoma" pitchFamily="34" charset="0"/>
                <a:ea typeface="+mn-ea"/>
                <a:cs typeface="Arial" charset="0"/>
              </a:rPr>
              <a:t>Documents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41DD31-796B-47D9-8FA7-8CE45BCCA82B}" type="slidenum">
              <a:rPr lang="de-DE" smtClean="0"/>
              <a:pPr>
                <a:defRPr/>
              </a:pPr>
              <a:t>23</a:t>
            </a:fld>
            <a:endParaRPr lang="de-DE"/>
          </a:p>
        </p:txBody>
      </p:sp>
      <p:pic>
        <p:nvPicPr>
          <p:cNvPr id="6" name="Grafik 5" descr="Semester Project (2)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899592" y="997134"/>
            <a:ext cx="8248212" cy="58162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823973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nummernplatzhalter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5221C71D-BAD9-49BE-8084-A955DB1DE496}" type="slidenum">
              <a:rPr lang="de-DE" smtClean="0"/>
              <a:pPr>
                <a:defRPr/>
              </a:pPr>
              <a:t>24</a:t>
            </a:fld>
            <a:endParaRPr lang="de-DE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2060848"/>
            <a:ext cx="8331200" cy="4212468"/>
          </a:xfrm>
          <a:prstGeom prst="rect">
            <a:avLst/>
          </a:prstGeom>
          <a:ln w="15875">
            <a:solidFill>
              <a:schemeClr val="tx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Titel 1"/>
          <p:cNvSpPr txBox="1">
            <a:spLocks/>
          </p:cNvSpPr>
          <p:nvPr/>
        </p:nvSpPr>
        <p:spPr>
          <a:xfrm>
            <a:off x="1475656" y="608410"/>
            <a:ext cx="5833330" cy="49177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ahom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ahom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ahom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ahom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ahom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ahom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ahom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ahoma" pitchFamily="34" charset="0"/>
              </a:defRPr>
            </a:lvl9pPr>
          </a:lstStyle>
          <a:p>
            <a:pPr algn="ctr" eaLnBrk="1" hangingPunct="1"/>
            <a:r>
              <a:rPr lang="de-DE" sz="2400" b="1" kern="1200" dirty="0" smtClean="0">
                <a:solidFill>
                  <a:srgbClr val="000000"/>
                </a:solidFill>
                <a:latin typeface="Tahoma" pitchFamily="34" charset="0"/>
                <a:ea typeface="+mn-ea"/>
                <a:cs typeface="Arial" charset="0"/>
              </a:rPr>
              <a:t>Deadlines, Tasks, Topics, </a:t>
            </a:r>
            <a:r>
              <a:rPr lang="de-DE" sz="2400" b="1" kern="1200" dirty="0" err="1" smtClean="0">
                <a:solidFill>
                  <a:srgbClr val="000000"/>
                </a:solidFill>
                <a:latin typeface="Tahoma" pitchFamily="34" charset="0"/>
                <a:ea typeface="+mn-ea"/>
                <a:cs typeface="Arial" charset="0"/>
              </a:rPr>
              <a:t>Documents</a:t>
            </a:r>
            <a:r>
              <a:rPr lang="de-DE" sz="2400" b="1" kern="1200" dirty="0" smtClean="0">
                <a:solidFill>
                  <a:srgbClr val="000000"/>
                </a:solidFill>
                <a:latin typeface="Tahoma" pitchFamily="34" charset="0"/>
                <a:ea typeface="+mn-ea"/>
                <a:cs typeface="Arial" charset="0"/>
              </a:rPr>
              <a:t> (</a:t>
            </a:r>
            <a:r>
              <a:rPr lang="de-DE" sz="2400" b="1" kern="1200" dirty="0" err="1" smtClean="0">
                <a:solidFill>
                  <a:srgbClr val="000000"/>
                </a:solidFill>
                <a:latin typeface="Tahoma" pitchFamily="34" charset="0"/>
                <a:ea typeface="+mn-ea"/>
                <a:cs typeface="Arial" charset="0"/>
              </a:rPr>
              <a:t>excerpt</a:t>
            </a:r>
            <a:r>
              <a:rPr lang="de-DE" sz="2400" b="1" kern="1200" dirty="0" smtClean="0">
                <a:solidFill>
                  <a:srgbClr val="000000"/>
                </a:solidFill>
                <a:latin typeface="Tahoma" pitchFamily="34" charset="0"/>
                <a:ea typeface="+mn-ea"/>
                <a:cs typeface="Arial" charset="0"/>
              </a:rPr>
              <a:t>)</a:t>
            </a:r>
            <a:endParaRPr lang="de-DE" b="0" kern="0" dirty="0"/>
          </a:p>
        </p:txBody>
      </p:sp>
    </p:spTree>
    <p:extLst>
      <p:ext uri="{BB962C8B-B14F-4D97-AF65-F5344CB8AC3E}">
        <p14:creationId xmlns:p14="http://schemas.microsoft.com/office/powerpoint/2010/main" val="2608440494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27584" y="3068960"/>
            <a:ext cx="7793037" cy="792088"/>
          </a:xfrm>
        </p:spPr>
        <p:txBody>
          <a:bodyPr/>
          <a:lstStyle/>
          <a:p>
            <a:pPr algn="ctr"/>
            <a:r>
              <a:rPr lang="de-DE" sz="4000" dirty="0" err="1" smtClean="0"/>
              <a:t>Results</a:t>
            </a:r>
            <a:endParaRPr lang="de-DE" sz="40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41DD31-796B-47D9-8FA7-8CE45BCCA82B}" type="slidenum">
              <a:rPr lang="de-DE" smtClean="0"/>
              <a:pPr>
                <a:defRPr/>
              </a:pPr>
              <a:t>2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00681706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007605" y="-6194"/>
            <a:ext cx="8028892" cy="1490978"/>
          </a:xfrm>
          <a:solidFill>
            <a:schemeClr val="bg1"/>
          </a:solidFill>
        </p:spPr>
        <p:txBody>
          <a:bodyPr/>
          <a:lstStyle/>
          <a:p>
            <a:r>
              <a:rPr lang="de-DE" sz="3600" dirty="0" err="1" smtClean="0"/>
              <a:t>Representation</a:t>
            </a:r>
            <a:r>
              <a:rPr lang="de-DE" sz="3600" dirty="0" smtClean="0"/>
              <a:t> </a:t>
            </a:r>
            <a:r>
              <a:rPr lang="de-DE" sz="3600" dirty="0" err="1" smtClean="0"/>
              <a:t>of</a:t>
            </a:r>
            <a:r>
              <a:rPr lang="de-DE" sz="3600" dirty="0" smtClean="0"/>
              <a:t> </a:t>
            </a:r>
            <a:r>
              <a:rPr lang="de-DE" sz="3600" dirty="0" err="1" smtClean="0"/>
              <a:t>routes</a:t>
            </a:r>
            <a:r>
              <a:rPr lang="de-DE" sz="3600" dirty="0" smtClean="0"/>
              <a:t> </a:t>
            </a:r>
            <a:r>
              <a:rPr lang="de-DE" sz="3600" dirty="0" err="1" smtClean="0"/>
              <a:t>by</a:t>
            </a:r>
            <a:r>
              <a:rPr lang="de-DE" sz="3600" dirty="0" smtClean="0"/>
              <a:t> </a:t>
            </a:r>
            <a:r>
              <a:rPr lang="de-DE" sz="3600" dirty="0" err="1" smtClean="0"/>
              <a:t>timelines</a:t>
            </a:r>
            <a:r>
              <a:rPr lang="de-DE" sz="3600" dirty="0" smtClean="0"/>
              <a:t>, </a:t>
            </a:r>
            <a:r>
              <a:rPr lang="de-DE" sz="3600" dirty="0" err="1" smtClean="0"/>
              <a:t>textual</a:t>
            </a:r>
            <a:r>
              <a:rPr lang="de-DE" sz="3600" dirty="0" smtClean="0"/>
              <a:t> </a:t>
            </a:r>
            <a:r>
              <a:rPr lang="de-DE" sz="3600" dirty="0" err="1" smtClean="0"/>
              <a:t>description</a:t>
            </a:r>
            <a:r>
              <a:rPr lang="de-DE" sz="3600" dirty="0" smtClean="0"/>
              <a:t> </a:t>
            </a:r>
            <a:r>
              <a:rPr lang="de-DE" sz="3600" dirty="0" err="1" smtClean="0"/>
              <a:t>and</a:t>
            </a:r>
            <a:r>
              <a:rPr lang="de-DE" sz="3600" dirty="0" smtClean="0"/>
              <a:t> </a:t>
            </a:r>
            <a:r>
              <a:rPr lang="de-DE" sz="3600" dirty="0" err="1" smtClean="0"/>
              <a:t>GoogleMaps</a:t>
            </a:r>
            <a:endParaRPr lang="de-DE" sz="3600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41DD31-796B-47D9-8FA7-8CE45BCCA82B}" type="slidenum">
              <a:rPr lang="de-DE" smtClean="0"/>
              <a:pPr>
                <a:defRPr/>
              </a:pPr>
              <a:t>26</a:t>
            </a:fld>
            <a:endParaRPr lang="de-DE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6836" y="1844824"/>
            <a:ext cx="5272430" cy="4473062"/>
          </a:xfrm>
          <a:prstGeom prst="rect">
            <a:avLst/>
          </a:prstGeom>
          <a:ln>
            <a:noFill/>
          </a:ln>
        </p:spPr>
      </p:pic>
      <p:sp>
        <p:nvSpPr>
          <p:cNvPr id="6" name="Abgerundetes Rechteck 5"/>
          <p:cNvSpPr/>
          <p:nvPr/>
        </p:nvSpPr>
        <p:spPr bwMode="auto">
          <a:xfrm>
            <a:off x="2087724" y="2456892"/>
            <a:ext cx="4716524" cy="21602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Route </a:t>
            </a:r>
            <a:r>
              <a:rPr lang="de-DE" sz="1000" dirty="0" smtClean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sal</a:t>
            </a:r>
            <a:r>
              <a:rPr kumimoji="0" lang="de-DE" sz="10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1</a:t>
            </a:r>
          </a:p>
        </p:txBody>
      </p:sp>
      <p:sp>
        <p:nvSpPr>
          <p:cNvPr id="7" name="Abgerundetes Rechteck 6"/>
          <p:cNvSpPr/>
          <p:nvPr/>
        </p:nvSpPr>
        <p:spPr bwMode="auto">
          <a:xfrm>
            <a:off x="1979712" y="2708920"/>
            <a:ext cx="2715322" cy="216024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de-DE" sz="8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: </a:t>
            </a:r>
            <a:r>
              <a:rPr lang="de-DE" sz="800" b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:25</a:t>
            </a:r>
            <a:r>
              <a:rPr lang="de-DE" sz="80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|  Duration: </a:t>
            </a:r>
            <a:r>
              <a:rPr lang="de-DE" sz="800" b="0" dirty="0" smtClean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h 57 min</a:t>
            </a:r>
            <a:endParaRPr kumimoji="0" lang="de-DE" sz="800" b="0" i="0" u="none" strike="noStrike" cap="none" normalizeH="0" baseline="0" dirty="0" smtClean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bgerundetes Rechteck 3"/>
          <p:cNvSpPr/>
          <p:nvPr/>
        </p:nvSpPr>
        <p:spPr bwMode="auto">
          <a:xfrm>
            <a:off x="2206227" y="3356992"/>
            <a:ext cx="1177641" cy="216024"/>
          </a:xfrm>
          <a:prstGeom prst="round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Show details</a:t>
            </a:r>
          </a:p>
        </p:txBody>
      </p:sp>
      <p:sp>
        <p:nvSpPr>
          <p:cNvPr id="9" name="Abgerundetes Rechteck 8"/>
          <p:cNvSpPr/>
          <p:nvPr/>
        </p:nvSpPr>
        <p:spPr bwMode="auto">
          <a:xfrm>
            <a:off x="5940152" y="3392996"/>
            <a:ext cx="756084" cy="180020"/>
          </a:xfrm>
          <a:prstGeom prst="roundRect">
            <a:avLst/>
          </a:prstGeom>
          <a:solidFill>
            <a:schemeClr val="accent3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9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Split route</a:t>
            </a: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4644008" y="3803100"/>
            <a:ext cx="1238898" cy="162018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8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1. </a:t>
            </a:r>
            <a:r>
              <a:rPr kumimoji="0" lang="de-DE" sz="80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Walk </a:t>
            </a:r>
            <a:r>
              <a:rPr kumimoji="0" lang="de-DE" sz="8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(18 m)</a:t>
            </a:r>
          </a:p>
        </p:txBody>
      </p:sp>
      <p:sp>
        <p:nvSpPr>
          <p:cNvPr id="13" name="Abgerundetes Rechteck 12"/>
          <p:cNvSpPr/>
          <p:nvPr/>
        </p:nvSpPr>
        <p:spPr bwMode="auto">
          <a:xfrm>
            <a:off x="4644008" y="4182924"/>
            <a:ext cx="970762" cy="182180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8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2.</a:t>
            </a:r>
            <a:r>
              <a:rPr kumimoji="0" lang="de-DE" sz="8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 Tram </a:t>
            </a:r>
            <a:r>
              <a:rPr kumimoji="0" lang="de-DE" sz="8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(904 m)</a:t>
            </a: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4462642" y="3573016"/>
            <a:ext cx="1152128" cy="25202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8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   </a:t>
            </a:r>
            <a:r>
              <a:rPr lang="de-DE" sz="800" dirty="0" smtClean="0">
                <a:solidFill>
                  <a:schemeClr val="tx2"/>
                </a:solidFill>
              </a:rPr>
              <a:t>R</a:t>
            </a:r>
            <a:r>
              <a:rPr kumimoji="0" lang="de-DE" sz="8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oute</a:t>
            </a:r>
            <a:r>
              <a:rPr kumimoji="0" lang="de-DE" sz="800" b="1" i="0" u="none" strike="noStrike" cap="none" normalizeH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 </a:t>
            </a:r>
            <a:r>
              <a:rPr kumimoji="0" lang="de-DE" sz="800" b="1" i="0" u="none" strike="noStrike" cap="none" normalizeH="0" dirty="0" err="1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description</a:t>
            </a:r>
            <a:endParaRPr kumimoji="0" lang="de-DE" sz="800" b="1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ahoma" pitchFamily="34" charset="0"/>
            </a:endParaRPr>
          </a:p>
        </p:txBody>
      </p:sp>
      <p:sp>
        <p:nvSpPr>
          <p:cNvPr id="15" name="Abgerundetes Rechteck 14"/>
          <p:cNvSpPr/>
          <p:nvPr/>
        </p:nvSpPr>
        <p:spPr bwMode="auto">
          <a:xfrm>
            <a:off x="4608004" y="5004175"/>
            <a:ext cx="1260140" cy="179570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8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3.</a:t>
            </a:r>
            <a:r>
              <a:rPr kumimoji="0" lang="de-DE" sz="800" b="1" i="0" u="none" strike="noStrike" cap="none" normalizeH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 Walk </a:t>
            </a:r>
            <a:r>
              <a:rPr kumimoji="0" lang="de-DE" sz="800" b="0" i="0" u="none" strike="noStrike" cap="none" normalizeH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(36 m)</a:t>
            </a:r>
            <a:endParaRPr kumimoji="0" lang="de-DE" sz="800" b="0" i="0" u="none" strike="noStrike" cap="none" normalizeH="0" baseline="0" dirty="0" smtClean="0">
              <a:ln>
                <a:noFill/>
              </a:ln>
              <a:solidFill>
                <a:schemeClr val="tx2"/>
              </a:solidFill>
              <a:effectLst/>
              <a:latin typeface="Tahoma" pitchFamily="34" charset="0"/>
            </a:endParaRPr>
          </a:p>
        </p:txBody>
      </p:sp>
      <p:sp>
        <p:nvSpPr>
          <p:cNvPr id="16" name="Abgerundetes Rechteck 15"/>
          <p:cNvSpPr/>
          <p:nvPr/>
        </p:nvSpPr>
        <p:spPr bwMode="auto">
          <a:xfrm>
            <a:off x="4608004" y="5301209"/>
            <a:ext cx="1260140" cy="169219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8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4.</a:t>
            </a:r>
            <a:r>
              <a:rPr kumimoji="0" lang="de-DE" sz="800" b="1" i="0" u="none" strike="noStrike" cap="none" normalizeH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 S-Bahn  </a:t>
            </a:r>
            <a:r>
              <a:rPr kumimoji="0" lang="de-DE" sz="800" b="0" i="0" u="none" strike="noStrike" cap="none" normalizeH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(12.76 km</a:t>
            </a:r>
            <a:r>
              <a:rPr kumimoji="0" lang="de-DE" sz="800" b="0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Tahoma" pitchFamily="34" charset="0"/>
              </a:rPr>
              <a:t>)</a:t>
            </a:r>
            <a:endParaRPr kumimoji="0" lang="de-DE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ahoma" pitchFamily="34" charset="0"/>
            </a:endParaRPr>
          </a:p>
        </p:txBody>
      </p:sp>
      <p:sp>
        <p:nvSpPr>
          <p:cNvPr id="17" name="Abgerundetes Rechteck 16"/>
          <p:cNvSpPr/>
          <p:nvPr/>
        </p:nvSpPr>
        <p:spPr bwMode="auto">
          <a:xfrm>
            <a:off x="4608004" y="5563624"/>
            <a:ext cx="1080120" cy="169632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8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5.</a:t>
            </a:r>
            <a:r>
              <a:rPr kumimoji="0" lang="de-DE" sz="8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 Walk </a:t>
            </a:r>
            <a:r>
              <a:rPr kumimoji="0" lang="de-DE" sz="8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(121 m)</a:t>
            </a:r>
          </a:p>
        </p:txBody>
      </p:sp>
      <p:sp>
        <p:nvSpPr>
          <p:cNvPr id="18" name="Abgerundetes Rechteck 17"/>
          <p:cNvSpPr/>
          <p:nvPr/>
        </p:nvSpPr>
        <p:spPr bwMode="auto">
          <a:xfrm>
            <a:off x="4470852" y="6133591"/>
            <a:ext cx="1008112" cy="106197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4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Tahoma" pitchFamily="34" charset="0"/>
            </a:endParaRPr>
          </a:p>
        </p:txBody>
      </p:sp>
      <p:sp>
        <p:nvSpPr>
          <p:cNvPr id="19" name="Abgerundetes Rechteck 18"/>
          <p:cNvSpPr/>
          <p:nvPr/>
        </p:nvSpPr>
        <p:spPr bwMode="auto">
          <a:xfrm>
            <a:off x="4608004" y="5854030"/>
            <a:ext cx="1943708" cy="167258"/>
          </a:xfrm>
          <a:prstGeom prst="roundRect">
            <a:avLst/>
          </a:prstGeom>
          <a:solidFill>
            <a:schemeClr val="bg1"/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8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6.</a:t>
            </a:r>
            <a:r>
              <a:rPr kumimoji="0" lang="de-DE" sz="8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 Long-</a:t>
            </a:r>
            <a:r>
              <a:rPr kumimoji="0" lang="de-DE" sz="800" b="1" i="0" u="none" strike="noStrike" cap="none" normalizeH="0" baseline="0" dirty="0" err="1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distance</a:t>
            </a:r>
            <a:r>
              <a:rPr kumimoji="0" lang="de-DE" sz="800" b="1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 train </a:t>
            </a:r>
            <a:r>
              <a:rPr kumimoji="0" lang="de-DE" sz="800" b="0" i="0" u="none" strike="noStrike" cap="none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Tahoma" pitchFamily="34" charset="0"/>
              </a:rPr>
              <a:t>(498.41 km)</a:t>
            </a:r>
          </a:p>
        </p:txBody>
      </p:sp>
    </p:spTree>
    <p:extLst>
      <p:ext uri="{BB962C8B-B14F-4D97-AF65-F5344CB8AC3E}">
        <p14:creationId xmlns:p14="http://schemas.microsoft.com/office/powerpoint/2010/main" val="35851785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50963" y="476672"/>
            <a:ext cx="7793037" cy="1143000"/>
          </a:xfrm>
        </p:spPr>
        <p:txBody>
          <a:bodyPr/>
          <a:lstStyle/>
          <a:p>
            <a:r>
              <a:rPr lang="de-DE" dirty="0" smtClean="0"/>
              <a:t>Services </a:t>
            </a:r>
            <a:r>
              <a:rPr lang="de-DE" dirty="0" err="1" smtClean="0"/>
              <a:t>included</a:t>
            </a:r>
            <a:r>
              <a:rPr lang="de-DE" dirty="0" smtClean="0"/>
              <a:t> …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1182688" y="2017712"/>
            <a:ext cx="7772400" cy="4579639"/>
          </a:xfrm>
        </p:spPr>
        <p:txBody>
          <a:bodyPr/>
          <a:lstStyle/>
          <a:p>
            <a:r>
              <a:rPr lang="de-DE" sz="2800" dirty="0" err="1" smtClean="0"/>
              <a:t>Useable</a:t>
            </a:r>
            <a:r>
              <a:rPr lang="de-DE" sz="2800" dirty="0" smtClean="0"/>
              <a:t> at different </a:t>
            </a:r>
            <a:r>
              <a:rPr lang="de-DE" sz="2800" dirty="0" err="1" smtClean="0"/>
              <a:t>devices</a:t>
            </a:r>
            <a:r>
              <a:rPr lang="de-DE" sz="2800" dirty="0" smtClean="0"/>
              <a:t>: </a:t>
            </a:r>
            <a:br>
              <a:rPr lang="de-DE" sz="2800" dirty="0" smtClean="0"/>
            </a:br>
            <a:r>
              <a:rPr lang="de-DE" sz="2800" dirty="0" smtClean="0"/>
              <a:t>  </a:t>
            </a:r>
            <a:r>
              <a:rPr lang="de-DE" sz="2800" dirty="0" err="1" smtClean="0"/>
              <a:t>laptop</a:t>
            </a:r>
            <a:r>
              <a:rPr lang="de-DE" sz="2800" dirty="0" smtClean="0"/>
              <a:t>, mobile </a:t>
            </a:r>
            <a:r>
              <a:rPr lang="de-DE" sz="2800" dirty="0" err="1" smtClean="0"/>
              <a:t>app</a:t>
            </a:r>
            <a:r>
              <a:rPr lang="de-DE" sz="2800" dirty="0" smtClean="0"/>
              <a:t> </a:t>
            </a:r>
          </a:p>
          <a:p>
            <a:r>
              <a:rPr lang="de-DE" sz="2800" dirty="0" smtClean="0"/>
              <a:t>Login </a:t>
            </a:r>
            <a:r>
              <a:rPr lang="de-DE" sz="2800" dirty="0" err="1" smtClean="0"/>
              <a:t>and</a:t>
            </a:r>
            <a:r>
              <a:rPr lang="de-DE" sz="2800" dirty="0" smtClean="0"/>
              <a:t> </a:t>
            </a:r>
            <a:r>
              <a:rPr lang="de-DE" sz="2800" dirty="0" err="1" smtClean="0"/>
              <a:t>account</a:t>
            </a:r>
            <a:r>
              <a:rPr lang="de-DE" sz="2800" dirty="0" smtClean="0"/>
              <a:t> </a:t>
            </a:r>
            <a:r>
              <a:rPr lang="de-DE" sz="2800" dirty="0" err="1" smtClean="0"/>
              <a:t>control</a:t>
            </a:r>
            <a:r>
              <a:rPr lang="de-DE" sz="2800" dirty="0" smtClean="0"/>
              <a:t> </a:t>
            </a:r>
            <a:endParaRPr lang="de-DE" sz="2800" dirty="0"/>
          </a:p>
          <a:p>
            <a:r>
              <a:rPr lang="de-DE" sz="2800" dirty="0" smtClean="0"/>
              <a:t>Fine </a:t>
            </a:r>
            <a:r>
              <a:rPr lang="de-DE" sz="2800" dirty="0" err="1" smtClean="0"/>
              <a:t>navigation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</a:t>
            </a:r>
            <a:r>
              <a:rPr lang="de-DE" sz="2800" dirty="0" err="1" smtClean="0"/>
              <a:t>walking</a:t>
            </a:r>
            <a:r>
              <a:rPr lang="de-DE" sz="2800" dirty="0" smtClean="0"/>
              <a:t> </a:t>
            </a:r>
            <a:r>
              <a:rPr lang="de-DE" sz="2800" dirty="0" err="1" smtClean="0"/>
              <a:t>segments</a:t>
            </a:r>
            <a:r>
              <a:rPr lang="de-DE" sz="2800" dirty="0" smtClean="0"/>
              <a:t> </a:t>
            </a:r>
            <a:endParaRPr lang="de-DE" sz="2800" dirty="0"/>
          </a:p>
          <a:p>
            <a:r>
              <a:rPr lang="de-DE" sz="2800" dirty="0" smtClean="0"/>
              <a:t>Store last 10 </a:t>
            </a:r>
            <a:r>
              <a:rPr lang="de-DE" sz="2800" dirty="0" err="1" smtClean="0"/>
              <a:t>user</a:t>
            </a:r>
            <a:r>
              <a:rPr lang="de-DE" sz="2800" dirty="0" smtClean="0"/>
              <a:t> </a:t>
            </a:r>
            <a:r>
              <a:rPr lang="de-DE" sz="2800" dirty="0" err="1" smtClean="0"/>
              <a:t>inquiries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</a:t>
            </a:r>
            <a:r>
              <a:rPr lang="de-DE" sz="2800" dirty="0" err="1" smtClean="0"/>
              <a:t>reuse</a:t>
            </a:r>
            <a:endParaRPr lang="de-DE" sz="2800" dirty="0" smtClean="0"/>
          </a:p>
          <a:p>
            <a:r>
              <a:rPr lang="de-DE" sz="2800" dirty="0" smtClean="0"/>
              <a:t>Share </a:t>
            </a:r>
            <a:r>
              <a:rPr lang="de-DE" sz="2800" dirty="0" err="1" smtClean="0"/>
              <a:t>routes</a:t>
            </a:r>
            <a:r>
              <a:rPr lang="de-DE" sz="2800" dirty="0" smtClean="0"/>
              <a:t> via Facebook</a:t>
            </a:r>
          </a:p>
          <a:p>
            <a:r>
              <a:rPr lang="de-DE" sz="2800" dirty="0" err="1" smtClean="0"/>
              <a:t>Looking</a:t>
            </a:r>
            <a:r>
              <a:rPr lang="de-DE" sz="2800" dirty="0" smtClean="0"/>
              <a:t> </a:t>
            </a:r>
            <a:r>
              <a:rPr lang="de-DE" sz="2800" dirty="0" err="1" smtClean="0"/>
              <a:t>for</a:t>
            </a:r>
            <a:r>
              <a:rPr lang="de-DE" sz="2800" dirty="0" smtClean="0"/>
              <a:t> </a:t>
            </a:r>
            <a:r>
              <a:rPr lang="de-DE" sz="2800" dirty="0" err="1" smtClean="0"/>
              <a:t>restaurants</a:t>
            </a:r>
            <a:r>
              <a:rPr lang="de-DE" sz="2800" dirty="0" smtClean="0"/>
              <a:t> at </a:t>
            </a:r>
            <a:r>
              <a:rPr lang="de-DE" sz="2800" dirty="0" err="1" smtClean="0"/>
              <a:t>special</a:t>
            </a:r>
            <a:r>
              <a:rPr lang="de-DE" sz="2800" dirty="0" smtClean="0"/>
              <a:t> </a:t>
            </a:r>
            <a:r>
              <a:rPr lang="de-DE" sz="2800" dirty="0" err="1" smtClean="0"/>
              <a:t>points</a:t>
            </a:r>
            <a:endParaRPr lang="de-DE" sz="2800" dirty="0" smtClean="0"/>
          </a:p>
          <a:p>
            <a:r>
              <a:rPr lang="de-DE" sz="2800" dirty="0" smtClean="0"/>
              <a:t>…</a:t>
            </a:r>
            <a:endParaRPr lang="de-DE" sz="2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991FD62-6466-40FD-AB98-0A2BD0DD1706}" type="slidenum">
              <a:rPr lang="de-DE" smtClean="0"/>
              <a:pPr>
                <a:defRPr/>
              </a:pPr>
              <a:t>2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4368374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"/>
          <p:cNvSpPr>
            <a:spLocks noChangeArrowheads="1"/>
          </p:cNvSpPr>
          <p:nvPr/>
        </p:nvSpPr>
        <p:spPr bwMode="auto">
          <a:xfrm>
            <a:off x="215900" y="4833838"/>
            <a:ext cx="8604250" cy="503374"/>
          </a:xfrm>
          <a:prstGeom prst="rect">
            <a:avLst/>
          </a:prstGeom>
          <a:gradFill rotWithShape="1">
            <a:gsLst>
              <a:gs pos="0">
                <a:srgbClr val="FFCC00">
                  <a:alpha val="50000"/>
                </a:srgbClr>
              </a:gs>
              <a:gs pos="100000">
                <a:srgbClr val="765E00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147" name="AutoShap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smtClean="0"/>
              <a:t>Contents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82600" y="1700808"/>
            <a:ext cx="8661400" cy="4573587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en-US" altLang="de-DE" dirty="0" smtClean="0"/>
          </a:p>
          <a:p>
            <a:pPr eaLnBrk="1" hangingPunct="1"/>
            <a:r>
              <a:rPr lang="en-US" altLang="de-DE" sz="2400" dirty="0" smtClean="0"/>
              <a:t>Bachelor Curriculum at HU</a:t>
            </a:r>
          </a:p>
          <a:p>
            <a:pPr eaLnBrk="1" hangingPunct="1"/>
            <a:r>
              <a:rPr lang="en-US" altLang="de-DE" sz="2400" dirty="0" smtClean="0"/>
              <a:t>Cooperation with </a:t>
            </a:r>
            <a:r>
              <a:rPr lang="en-US" altLang="de-DE" sz="2400" dirty="0"/>
              <a:t>a </a:t>
            </a:r>
            <a:r>
              <a:rPr lang="en-US" altLang="de-DE" sz="2400" dirty="0" smtClean="0"/>
              <a:t>Company at a Semester Project during WS 2014/15</a:t>
            </a:r>
          </a:p>
          <a:p>
            <a:pPr eaLnBrk="1" hangingPunct="1"/>
            <a:r>
              <a:rPr lang="en-US" altLang="de-DE" sz="2400" dirty="0" smtClean="0"/>
              <a:t>Task, Special Features and </a:t>
            </a:r>
            <a:r>
              <a:rPr lang="en-US" altLang="de-DE" sz="2400" dirty="0" err="1" smtClean="0"/>
              <a:t>Technolgy</a:t>
            </a:r>
            <a:endParaRPr lang="en-US" altLang="de-DE" sz="2400" dirty="0" smtClean="0"/>
          </a:p>
          <a:p>
            <a:pPr eaLnBrk="1" hangingPunct="1"/>
            <a:r>
              <a:rPr lang="en-US" altLang="de-DE" sz="2400" dirty="0" smtClean="0"/>
              <a:t>Agile Development with Scrum</a:t>
            </a:r>
          </a:p>
          <a:p>
            <a:pPr eaLnBrk="1" hangingPunct="1"/>
            <a:r>
              <a:rPr lang="en-US" altLang="de-DE" sz="2400" dirty="0" smtClean="0"/>
              <a:t>Agenda and Results</a:t>
            </a:r>
          </a:p>
          <a:p>
            <a:pPr eaLnBrk="1" hangingPunct="1"/>
            <a:r>
              <a:rPr lang="en-US" altLang="de-DE" sz="2400" dirty="0" smtClean="0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1629993767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Final </a:t>
            </a:r>
            <a:r>
              <a:rPr lang="de-DE" dirty="0" err="1" smtClean="0"/>
              <a:t>public</a:t>
            </a:r>
            <a:r>
              <a:rPr lang="de-DE" dirty="0" smtClean="0"/>
              <a:t> </a:t>
            </a:r>
            <a:r>
              <a:rPr lang="de-DE" dirty="0" err="1" smtClean="0"/>
              <a:t>presentation</a:t>
            </a:r>
            <a:r>
              <a:rPr lang="de-DE" dirty="0" smtClean="0"/>
              <a:t> …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71600" y="2384884"/>
            <a:ext cx="7772400" cy="3463515"/>
          </a:xfrm>
        </p:spPr>
        <p:txBody>
          <a:bodyPr/>
          <a:lstStyle/>
          <a:p>
            <a:r>
              <a:rPr lang="de-DE" sz="2800" dirty="0" smtClean="0"/>
              <a:t>… </a:t>
            </a:r>
            <a:r>
              <a:rPr lang="de-DE" sz="2800" dirty="0" err="1" smtClean="0"/>
              <a:t>of</a:t>
            </a:r>
            <a:r>
              <a:rPr lang="de-DE" sz="2800" dirty="0" smtClean="0"/>
              <a:t> all </a:t>
            </a:r>
            <a:r>
              <a:rPr lang="de-DE" sz="2800" dirty="0" err="1" smtClean="0"/>
              <a:t>four</a:t>
            </a:r>
            <a:r>
              <a:rPr lang="de-DE" sz="2800" dirty="0" smtClean="0"/>
              <a:t> </a:t>
            </a:r>
            <a:r>
              <a:rPr lang="de-DE" sz="2800" dirty="0" err="1" smtClean="0"/>
              <a:t>semester</a:t>
            </a:r>
            <a:r>
              <a:rPr lang="de-DE" sz="2800" dirty="0" smtClean="0"/>
              <a:t> </a:t>
            </a:r>
            <a:r>
              <a:rPr lang="de-DE" sz="2800" dirty="0" err="1" smtClean="0"/>
              <a:t>projects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institute</a:t>
            </a:r>
            <a:r>
              <a:rPr lang="de-DE" sz="2800" dirty="0" smtClean="0"/>
              <a:t> in WS 2014/15 (</a:t>
            </a:r>
            <a:r>
              <a:rPr lang="de-DE" sz="2800" dirty="0" err="1" smtClean="0"/>
              <a:t>event</a:t>
            </a:r>
            <a:r>
              <a:rPr lang="de-DE" sz="2800" dirty="0" smtClean="0"/>
              <a:t>: April 2015)</a:t>
            </a:r>
          </a:p>
          <a:p>
            <a:r>
              <a:rPr lang="de-DE" sz="2800" dirty="0" smtClean="0"/>
              <a:t>… </a:t>
            </a:r>
            <a:r>
              <a:rPr lang="de-DE" sz="2800" dirty="0" err="1" smtClean="0"/>
              <a:t>consisting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oral 20 </a:t>
            </a:r>
            <a:r>
              <a:rPr lang="de-DE" sz="2800" dirty="0" err="1" smtClean="0"/>
              <a:t>minutes</a:t>
            </a:r>
            <a:r>
              <a:rPr lang="de-DE" sz="2800" dirty="0" smtClean="0"/>
              <a:t> </a:t>
            </a:r>
            <a:r>
              <a:rPr lang="de-DE" sz="2800" dirty="0" err="1" smtClean="0"/>
              <a:t>presenta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all </a:t>
            </a:r>
            <a:r>
              <a:rPr lang="de-DE" sz="2800" dirty="0" err="1" smtClean="0"/>
              <a:t>team</a:t>
            </a:r>
            <a:r>
              <a:rPr lang="de-DE" sz="2800" dirty="0" smtClean="0"/>
              <a:t> </a:t>
            </a:r>
            <a:r>
              <a:rPr lang="de-DE" sz="2800" dirty="0" err="1" smtClean="0"/>
              <a:t>members</a:t>
            </a:r>
            <a:r>
              <a:rPr lang="de-DE" sz="2800" dirty="0" smtClean="0"/>
              <a:t> …</a:t>
            </a:r>
          </a:p>
          <a:p>
            <a:r>
              <a:rPr lang="de-DE" sz="2800" dirty="0" smtClean="0"/>
              <a:t>… </a:t>
            </a:r>
            <a:r>
              <a:rPr lang="de-DE" sz="2800" dirty="0" err="1" smtClean="0"/>
              <a:t>and</a:t>
            </a:r>
            <a:r>
              <a:rPr lang="de-DE" sz="2800" dirty="0" smtClean="0"/>
              <a:t> </a:t>
            </a:r>
            <a:r>
              <a:rPr lang="de-DE" sz="2800" dirty="0" err="1" smtClean="0"/>
              <a:t>demonstration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system</a:t>
            </a:r>
            <a:r>
              <a:rPr lang="de-DE" sz="2800" dirty="0" smtClean="0"/>
              <a:t> at </a:t>
            </a:r>
            <a:r>
              <a:rPr lang="de-DE" sz="2800" dirty="0" err="1" smtClean="0"/>
              <a:t>work</a:t>
            </a:r>
            <a:r>
              <a:rPr lang="de-DE" sz="2800" dirty="0" smtClean="0"/>
              <a:t>.</a:t>
            </a:r>
          </a:p>
          <a:p>
            <a:r>
              <a:rPr lang="de-DE" sz="2800" dirty="0" smtClean="0"/>
              <a:t>All </a:t>
            </a:r>
            <a:r>
              <a:rPr lang="de-DE" sz="2800" dirty="0" err="1" smtClean="0"/>
              <a:t>students</a:t>
            </a:r>
            <a:r>
              <a:rPr lang="de-DE" sz="2800" dirty="0" smtClean="0"/>
              <a:t> </a:t>
            </a:r>
            <a:r>
              <a:rPr lang="de-DE" sz="2800" dirty="0" err="1" smtClean="0"/>
              <a:t>and</a:t>
            </a:r>
            <a:r>
              <a:rPr lang="de-DE" sz="2800" dirty="0" smtClean="0"/>
              <a:t> </a:t>
            </a:r>
            <a:r>
              <a:rPr lang="de-DE" sz="2800" dirty="0" err="1" smtClean="0"/>
              <a:t>colleagues</a:t>
            </a:r>
            <a:r>
              <a:rPr lang="de-DE" sz="2800" dirty="0" smtClean="0"/>
              <a:t> </a:t>
            </a:r>
            <a:r>
              <a:rPr lang="de-DE" sz="2800" dirty="0" err="1" smtClean="0"/>
              <a:t>of</a:t>
            </a:r>
            <a:r>
              <a:rPr lang="de-DE" sz="2800" dirty="0" smtClean="0"/>
              <a:t> </a:t>
            </a:r>
            <a:r>
              <a:rPr lang="de-DE" sz="2800" dirty="0" err="1" smtClean="0"/>
              <a:t>the</a:t>
            </a:r>
            <a:r>
              <a:rPr lang="de-DE" sz="2800" dirty="0" smtClean="0"/>
              <a:t> </a:t>
            </a:r>
            <a:r>
              <a:rPr lang="de-DE" sz="2800" dirty="0" err="1" smtClean="0"/>
              <a:t>institute</a:t>
            </a:r>
            <a:r>
              <a:rPr lang="de-DE" sz="2800" dirty="0" smtClean="0"/>
              <a:t> </a:t>
            </a:r>
            <a:r>
              <a:rPr lang="de-DE" sz="2800" dirty="0" err="1" smtClean="0"/>
              <a:t>were</a:t>
            </a:r>
            <a:r>
              <a:rPr lang="de-DE" sz="2800" dirty="0" smtClean="0"/>
              <a:t> </a:t>
            </a:r>
            <a:r>
              <a:rPr lang="de-DE" sz="2800" dirty="0" err="1" smtClean="0"/>
              <a:t>invited</a:t>
            </a:r>
            <a:r>
              <a:rPr lang="de-DE" sz="2800" dirty="0" smtClean="0"/>
              <a:t> (150 </a:t>
            </a:r>
            <a:r>
              <a:rPr lang="de-DE" sz="2800" dirty="0" err="1" smtClean="0"/>
              <a:t>attendies</a:t>
            </a:r>
            <a:r>
              <a:rPr lang="de-DE" sz="2800" dirty="0" smtClean="0"/>
              <a:t>)</a:t>
            </a:r>
            <a:endParaRPr lang="de-DE" sz="28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991FD62-6466-40FD-AB98-0A2BD0DD1706}" type="slidenum">
              <a:rPr lang="de-DE" smtClean="0"/>
              <a:pPr>
                <a:defRPr/>
              </a:pPr>
              <a:t>2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81124392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600" dirty="0" smtClean="0"/>
              <a:t>Bachelor at HU: Schedule </a:t>
            </a:r>
            <a:r>
              <a:rPr lang="de-DE" altLang="de-DE" sz="3600" dirty="0" err="1"/>
              <a:t>O</a:t>
            </a:r>
            <a:r>
              <a:rPr lang="de-DE" altLang="de-DE" sz="3600" dirty="0" err="1" smtClean="0"/>
              <a:t>verview</a:t>
            </a:r>
            <a:endParaRPr lang="de-DE" altLang="de-DE" sz="3600" dirty="0" smtClean="0"/>
          </a:p>
        </p:txBody>
      </p:sp>
      <p:sp>
        <p:nvSpPr>
          <p:cNvPr id="9219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367748C-2AE9-410D-B61C-ECCF9E373CBD}" type="slidenum">
              <a:rPr lang="de-DE" smtClean="0"/>
              <a:pPr>
                <a:defRPr/>
              </a:pPr>
              <a:t>3</a:t>
            </a:fld>
            <a:endParaRPr lang="de-DE" smtClean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3938147"/>
              </p:ext>
            </p:extLst>
          </p:nvPr>
        </p:nvGraphicFramePr>
        <p:xfrm>
          <a:off x="446088" y="2078038"/>
          <a:ext cx="8288337" cy="4097339"/>
        </p:xfrm>
        <a:graphic>
          <a:graphicData uri="http://schemas.openxmlformats.org/drawingml/2006/table">
            <a:tbl>
              <a:tblPr/>
              <a:tblGrid>
                <a:gridCol w="1041400"/>
                <a:gridCol w="709612"/>
                <a:gridCol w="838200"/>
                <a:gridCol w="838200"/>
                <a:gridCol w="838200"/>
                <a:gridCol w="838200"/>
                <a:gridCol w="838200"/>
                <a:gridCol w="781050"/>
                <a:gridCol w="782638"/>
                <a:gridCol w="782637"/>
              </a:tblGrid>
              <a:tr h="2921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cs typeface="Times New Roman" pitchFamily="18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cs typeface="Times New Roman" pitchFamily="18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715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1. Semester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Fundamentals of Programmierung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(OO, Java) 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Basics of theoretical informatics 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Mathematics 1: Linear </a:t>
                      </a:r>
                      <a:b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</a:b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Algebra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Arial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Second subject  </a:t>
                      </a: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715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2. Semester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Algorithms and data structures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      Compiler construction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Digital systems: basics and architectures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Informatic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and </a:t>
                      </a:r>
                      <a:b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</a:b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Society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Arial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Second subject  </a:t>
                      </a: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715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3. Semester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Software Engineering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Logic in informatics 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Seminar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Mathematics 2: Analysis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Arial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Second subject  </a:t>
                      </a: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9535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4. Semester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Operating systems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Database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systems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munication systems: basics and network architectures</a:t>
                      </a:r>
                      <a:endParaRPr kumimoji="0" lang="de-DE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cs typeface="Times New Roman" pitchFamily="18" charset="0"/>
                        </a:rPr>
                        <a:t>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Mathematics 3: Numerics &amp; Stochastics 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Arial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Second subject  </a:t>
                      </a: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767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5. Semester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Semester Project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cs typeface="Times New Roman" pitchFamily="18" charset="0"/>
                        </a:rPr>
                        <a:t>Elective module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  </a:t>
                      </a:r>
                      <a:endParaRPr kumimoji="0" lang="de-DE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cs typeface="Times New Roman" pitchFamily="18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Second subject  </a:t>
                      </a: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767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6. Semester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Bachelor thesis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cs typeface="Times New Roman" pitchFamily="18" charset="0"/>
                        </a:rPr>
                        <a:t>Elective modules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Second subject  </a:t>
                      </a: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282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de-DE" altLang="de-DE"/>
          </a:p>
        </p:txBody>
      </p:sp>
      <p:sp>
        <p:nvSpPr>
          <p:cNvPr id="9283" name="Rechteck 5"/>
          <p:cNvSpPr>
            <a:spLocks noChangeArrowheads="1"/>
          </p:cNvSpPr>
          <p:nvPr/>
        </p:nvSpPr>
        <p:spPr bwMode="auto">
          <a:xfrm>
            <a:off x="1405550" y="5193196"/>
            <a:ext cx="1763713" cy="492196"/>
          </a:xfrm>
          <a:prstGeom prst="rect">
            <a:avLst/>
          </a:prstGeom>
          <a:noFill/>
          <a:ln w="34925" algn="ctr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284" name="Rechteck 6"/>
          <p:cNvSpPr>
            <a:spLocks noChangeArrowheads="1"/>
          </p:cNvSpPr>
          <p:nvPr/>
        </p:nvSpPr>
        <p:spPr bwMode="auto">
          <a:xfrm>
            <a:off x="1403350" y="2312988"/>
            <a:ext cx="1763713" cy="611187"/>
          </a:xfrm>
          <a:prstGeom prst="rect">
            <a:avLst/>
          </a:prstGeom>
          <a:noFill/>
          <a:ln w="34925" algn="ctr">
            <a:solidFill>
              <a:srgbClr val="FF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285" name="Rechteck 7"/>
          <p:cNvSpPr>
            <a:spLocks noChangeArrowheads="1"/>
          </p:cNvSpPr>
          <p:nvPr/>
        </p:nvSpPr>
        <p:spPr bwMode="auto">
          <a:xfrm>
            <a:off x="1403350" y="3681028"/>
            <a:ext cx="1763713" cy="468313"/>
          </a:xfrm>
          <a:prstGeom prst="rect">
            <a:avLst/>
          </a:prstGeom>
          <a:noFill/>
          <a:ln w="34925" algn="ctr">
            <a:solidFill>
              <a:srgbClr val="FF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/>
          </a:p>
        </p:txBody>
      </p:sp>
    </p:spTree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Conclusions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our</a:t>
            </a:r>
            <a:r>
              <a:rPr lang="de-DE" dirty="0" smtClean="0"/>
              <a:t> </a:t>
            </a:r>
            <a:r>
              <a:rPr lang="de-DE" dirty="0" err="1" smtClean="0"/>
              <a:t>team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71600" y="2096852"/>
            <a:ext cx="7529772" cy="2995464"/>
          </a:xfrm>
        </p:spPr>
        <p:txBody>
          <a:bodyPr/>
          <a:lstStyle/>
          <a:p>
            <a:pPr marL="0" indent="0">
              <a:buNone/>
            </a:pPr>
            <a:r>
              <a:rPr lang="de-DE" sz="2400" dirty="0" err="1" smtClean="0"/>
              <a:t>Especially</a:t>
            </a:r>
            <a:r>
              <a:rPr lang="de-DE" sz="2400" dirty="0" smtClean="0"/>
              <a:t> </a:t>
            </a:r>
            <a:r>
              <a:rPr lang="de-DE" sz="2400" dirty="0" err="1" smtClean="0"/>
              <a:t>valuable</a:t>
            </a:r>
            <a:r>
              <a:rPr lang="de-DE" sz="2400" dirty="0" smtClean="0"/>
              <a:t>:</a:t>
            </a:r>
          </a:p>
          <a:p>
            <a:r>
              <a:rPr lang="de-DE" sz="2400" dirty="0" smtClean="0"/>
              <a:t>Development </a:t>
            </a:r>
            <a:r>
              <a:rPr lang="de-DE" sz="2400" dirty="0" err="1" smtClean="0"/>
              <a:t>of</a:t>
            </a:r>
            <a:r>
              <a:rPr lang="de-DE" sz="2400" dirty="0" smtClean="0"/>
              <a:t> a </a:t>
            </a:r>
            <a:r>
              <a:rPr lang="de-DE" sz="2400" dirty="0" err="1" smtClean="0"/>
              <a:t>complex</a:t>
            </a:r>
            <a:r>
              <a:rPr lang="de-DE" sz="2400" dirty="0" smtClean="0"/>
              <a:t> </a:t>
            </a:r>
            <a:r>
              <a:rPr lang="de-DE" sz="2400" dirty="0" err="1" smtClean="0"/>
              <a:t>project</a:t>
            </a:r>
            <a:r>
              <a:rPr lang="de-DE" sz="2400" dirty="0" smtClean="0"/>
              <a:t> </a:t>
            </a:r>
            <a:r>
              <a:rPr lang="de-DE" sz="2400" dirty="0" err="1" smtClean="0"/>
              <a:t>with</a:t>
            </a:r>
            <a:r>
              <a:rPr lang="de-DE" sz="2400" dirty="0" smtClean="0"/>
              <a:t> different </a:t>
            </a:r>
            <a:r>
              <a:rPr lang="de-DE" sz="2400" dirty="0" err="1" smtClean="0"/>
              <a:t>technologies</a:t>
            </a:r>
            <a:r>
              <a:rPr lang="de-DE" sz="2400" dirty="0" smtClean="0"/>
              <a:t> </a:t>
            </a:r>
          </a:p>
          <a:p>
            <a:r>
              <a:rPr lang="de-DE" sz="2400" dirty="0" smtClean="0"/>
              <a:t>Work in a professional </a:t>
            </a:r>
            <a:r>
              <a:rPr lang="de-DE" sz="2400" dirty="0" err="1" smtClean="0"/>
              <a:t>environment</a:t>
            </a:r>
            <a:r>
              <a:rPr lang="de-DE" sz="2400" dirty="0" smtClean="0"/>
              <a:t> at </a:t>
            </a:r>
            <a:r>
              <a:rPr lang="de-DE" sz="2400" dirty="0" err="1" smtClean="0"/>
              <a:t>Capgemini</a:t>
            </a:r>
            <a:endParaRPr lang="de-DE" sz="2400" dirty="0"/>
          </a:p>
          <a:p>
            <a:r>
              <a:rPr lang="de-DE" sz="2400" dirty="0" err="1" smtClean="0"/>
              <a:t>Practical</a:t>
            </a:r>
            <a:r>
              <a:rPr lang="de-DE" sz="2400" dirty="0" smtClean="0"/>
              <a:t> </a:t>
            </a:r>
            <a:r>
              <a:rPr lang="de-DE" sz="2400" dirty="0" err="1" smtClean="0"/>
              <a:t>experience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agile </a:t>
            </a:r>
            <a:r>
              <a:rPr lang="de-DE" sz="2400" dirty="0" err="1" smtClean="0"/>
              <a:t>develoment</a:t>
            </a:r>
            <a:r>
              <a:rPr lang="de-DE" sz="2400" dirty="0" smtClean="0"/>
              <a:t> </a:t>
            </a:r>
          </a:p>
          <a:p>
            <a:r>
              <a:rPr lang="de-DE" sz="2400" dirty="0" smtClean="0"/>
              <a:t>Teamwork</a:t>
            </a:r>
            <a:r>
              <a:rPr lang="de-DE" sz="2400" dirty="0"/>
              <a:t>, </a:t>
            </a:r>
            <a:r>
              <a:rPr lang="de-DE" sz="2400" dirty="0" err="1" smtClean="0"/>
              <a:t>Organization</a:t>
            </a:r>
            <a:r>
              <a:rPr lang="de-DE" sz="2400" dirty="0" smtClean="0"/>
              <a:t> </a:t>
            </a:r>
            <a:r>
              <a:rPr lang="de-DE" sz="2400" dirty="0" err="1" smtClean="0"/>
              <a:t>of</a:t>
            </a:r>
            <a:r>
              <a:rPr lang="de-DE" sz="2400" dirty="0" smtClean="0"/>
              <a:t> </a:t>
            </a:r>
            <a:r>
              <a:rPr lang="de-DE" sz="2400" dirty="0" err="1" smtClean="0"/>
              <a:t>communication</a:t>
            </a:r>
            <a:r>
              <a:rPr lang="de-DE" sz="2400" dirty="0" smtClean="0"/>
              <a:t> </a:t>
            </a:r>
            <a:r>
              <a:rPr lang="de-DE" sz="2400" dirty="0" err="1" smtClean="0"/>
              <a:t>within</a:t>
            </a:r>
            <a:r>
              <a:rPr lang="de-DE" sz="2400" dirty="0" smtClean="0"/>
              <a:t> </a:t>
            </a:r>
            <a:r>
              <a:rPr lang="de-DE" sz="2400" dirty="0" err="1" smtClean="0"/>
              <a:t>the</a:t>
            </a:r>
            <a:r>
              <a:rPr lang="de-DE" sz="2400" dirty="0" smtClean="0"/>
              <a:t> </a:t>
            </a:r>
            <a:r>
              <a:rPr lang="de-DE" sz="2400" dirty="0" err="1" smtClean="0"/>
              <a:t>team</a:t>
            </a:r>
            <a:endParaRPr lang="de-DE" sz="2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991FD62-6466-40FD-AB98-0A2BD0DD1706}" type="slidenum">
              <a:rPr lang="de-DE" smtClean="0"/>
              <a:pPr>
                <a:defRPr/>
              </a:pPr>
              <a:t>30</a:t>
            </a:fld>
            <a:endParaRPr lang="de-DE"/>
          </a:p>
        </p:txBody>
      </p:sp>
      <p:sp>
        <p:nvSpPr>
          <p:cNvPr id="5" name="Textfeld 4"/>
          <p:cNvSpPr txBox="1"/>
          <p:nvPr/>
        </p:nvSpPr>
        <p:spPr>
          <a:xfrm>
            <a:off x="840706" y="5301208"/>
            <a:ext cx="665759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/>
              <a:t>A</a:t>
            </a:r>
            <a:r>
              <a:rPr lang="de-DE" dirty="0" smtClean="0"/>
              <a:t>ll </a:t>
            </a:r>
            <a:r>
              <a:rPr lang="de-DE" dirty="0" err="1" smtClean="0"/>
              <a:t>team</a:t>
            </a:r>
            <a:r>
              <a:rPr lang="de-DE" dirty="0" smtClean="0"/>
              <a:t> </a:t>
            </a:r>
            <a:r>
              <a:rPr lang="de-DE" dirty="0" err="1" smtClean="0"/>
              <a:t>members</a:t>
            </a:r>
            <a:r>
              <a:rPr lang="de-DE" dirty="0" smtClean="0"/>
              <a:t> </a:t>
            </a:r>
            <a:r>
              <a:rPr lang="de-DE" dirty="0" err="1" smtClean="0"/>
              <a:t>considerably</a:t>
            </a:r>
            <a:r>
              <a:rPr lang="de-DE" dirty="0" smtClean="0"/>
              <a:t> </a:t>
            </a:r>
            <a:r>
              <a:rPr lang="de-DE" dirty="0" err="1" smtClean="0"/>
              <a:t>engaged</a:t>
            </a:r>
            <a:endParaRPr lang="de-DE" dirty="0" smtClean="0"/>
          </a:p>
          <a:p>
            <a:r>
              <a:rPr lang="de-DE" dirty="0" err="1"/>
              <a:t>a</a:t>
            </a:r>
            <a:r>
              <a:rPr lang="de-DE" dirty="0" err="1" smtClean="0"/>
              <a:t>nd</a:t>
            </a:r>
            <a:r>
              <a:rPr lang="de-DE" dirty="0" smtClean="0"/>
              <a:t> </a:t>
            </a:r>
            <a:r>
              <a:rPr lang="de-DE" dirty="0" err="1" smtClean="0"/>
              <a:t>motivated</a:t>
            </a:r>
            <a:r>
              <a:rPr lang="de-DE" dirty="0" smtClean="0"/>
              <a:t> </a:t>
            </a:r>
            <a:r>
              <a:rPr lang="de-DE" dirty="0" err="1" smtClean="0"/>
              <a:t>by</a:t>
            </a:r>
            <a:r>
              <a:rPr lang="de-DE" dirty="0" smtClean="0"/>
              <a:t> </a:t>
            </a:r>
            <a:r>
              <a:rPr lang="de-DE" dirty="0" err="1" smtClean="0"/>
              <a:t>task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environment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212597861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Workload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3991FD62-6466-40FD-AB98-0A2BD0DD1706}" type="slidenum">
              <a:rPr lang="de-DE" smtClean="0"/>
              <a:pPr>
                <a:defRPr/>
              </a:pPr>
              <a:t>31</a:t>
            </a:fld>
            <a:endParaRPr lang="de-DE"/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4072120"/>
              </p:ext>
            </p:extLst>
          </p:nvPr>
        </p:nvGraphicFramePr>
        <p:xfrm>
          <a:off x="1043608" y="2240868"/>
          <a:ext cx="7092788" cy="190821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840780"/>
                <a:gridCol w="1623521"/>
                <a:gridCol w="1515083"/>
                <a:gridCol w="1515847"/>
                <a:gridCol w="1597557"/>
              </a:tblGrid>
              <a:tr h="99866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de-DE" sz="11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8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Irina</a:t>
                      </a:r>
                      <a:endParaRPr lang="de-DE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800" dirty="0" smtClean="0">
                          <a:effectLst/>
                        </a:rPr>
                        <a:t>Jerome</a:t>
                      </a:r>
                      <a:endParaRPr lang="de-DE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800" dirty="0" smtClean="0">
                          <a:effectLst/>
                        </a:rPr>
                        <a:t>Tobias</a:t>
                      </a:r>
                      <a:endParaRPr lang="de-DE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800" dirty="0" smtClean="0">
                          <a:effectLst/>
                        </a:rPr>
                        <a:t>Max</a:t>
                      </a:r>
                      <a:endParaRPr lang="de-DE" sz="2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90954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de-DE" sz="1000" dirty="0" smtClean="0"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de-DE" sz="1000" dirty="0" smtClean="0"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1800" dirty="0" err="1" smtClean="0">
                          <a:effectLst/>
                          <a:latin typeface="+mn-lt"/>
                          <a:ea typeface="+mn-ea"/>
                          <a:cs typeface="+mn-cs"/>
                        </a:rPr>
                        <a:t>Effort</a:t>
                      </a:r>
                      <a:r>
                        <a:rPr lang="de-DE" sz="1800" baseline="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de-DE" sz="24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000">
                          <a:effectLst/>
                        </a:rPr>
                        <a:t>246 h</a:t>
                      </a:r>
                      <a:endParaRPr lang="de-DE" sz="2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000" dirty="0">
                          <a:effectLst/>
                        </a:rPr>
                        <a:t>169 h </a:t>
                      </a:r>
                      <a:endParaRPr lang="de-DE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000" dirty="0">
                          <a:effectLst/>
                        </a:rPr>
                        <a:t>214 h </a:t>
                      </a:r>
                      <a:r>
                        <a:rPr lang="de-DE" sz="2000" dirty="0" smtClean="0">
                          <a:effectLst/>
                        </a:rPr>
                        <a:t> </a:t>
                      </a:r>
                      <a:endParaRPr lang="de-DE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de-DE" sz="2000" dirty="0">
                          <a:effectLst/>
                        </a:rPr>
                        <a:t>182 h </a:t>
                      </a:r>
                      <a:endParaRPr lang="de-DE" sz="2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7" name="Textfeld 6"/>
          <p:cNvSpPr txBox="1"/>
          <p:nvPr/>
        </p:nvSpPr>
        <p:spPr>
          <a:xfrm>
            <a:off x="1622531" y="4291481"/>
            <a:ext cx="41392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b="0" dirty="0" err="1" smtClean="0"/>
              <a:t>Based</a:t>
            </a:r>
            <a:r>
              <a:rPr lang="de-DE" b="0" dirty="0" smtClean="0"/>
              <a:t> on individual </a:t>
            </a:r>
            <a:r>
              <a:rPr lang="de-DE" b="0" dirty="0" err="1" smtClean="0"/>
              <a:t>protocols</a:t>
            </a:r>
            <a:endParaRPr lang="de-DE" b="0" dirty="0"/>
          </a:p>
        </p:txBody>
      </p:sp>
      <p:sp>
        <p:nvSpPr>
          <p:cNvPr id="8" name="Textfeld 7"/>
          <p:cNvSpPr txBox="1"/>
          <p:nvPr/>
        </p:nvSpPr>
        <p:spPr>
          <a:xfrm>
            <a:off x="6876256" y="4149080"/>
            <a:ext cx="144142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b="0" dirty="0" smtClean="0"/>
              <a:t>(</a:t>
            </a:r>
            <a:r>
              <a:rPr lang="de-DE" sz="2000" b="0" dirty="0" smtClean="0"/>
              <a:t>16 </a:t>
            </a:r>
            <a:r>
              <a:rPr lang="de-DE" sz="2000" b="0" dirty="0" err="1" smtClean="0"/>
              <a:t>weeks</a:t>
            </a:r>
            <a:r>
              <a:rPr lang="de-DE" sz="2000" b="0" dirty="0" smtClean="0"/>
              <a:t>)</a:t>
            </a:r>
            <a:endParaRPr lang="de-DE" sz="2000" b="0" dirty="0"/>
          </a:p>
        </p:txBody>
      </p:sp>
      <p:sp>
        <p:nvSpPr>
          <p:cNvPr id="9" name="Textfeld 8"/>
          <p:cNvSpPr txBox="1"/>
          <p:nvPr/>
        </p:nvSpPr>
        <p:spPr>
          <a:xfrm>
            <a:off x="2339752" y="5461843"/>
            <a:ext cx="557235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2000" dirty="0" err="1" smtClean="0">
                <a:solidFill>
                  <a:schemeClr val="accent1">
                    <a:lumMod val="50000"/>
                  </a:schemeClr>
                </a:solidFill>
              </a:rPr>
              <a:t>No</a:t>
            </a:r>
            <a:r>
              <a:rPr lang="de-DE" sz="20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sz="2000" dirty="0" err="1" smtClean="0">
                <a:solidFill>
                  <a:schemeClr val="accent1">
                    <a:lumMod val="50000"/>
                  </a:schemeClr>
                </a:solidFill>
              </a:rPr>
              <a:t>grading</a:t>
            </a:r>
            <a:r>
              <a:rPr lang="de-DE" sz="2000" dirty="0" smtClean="0">
                <a:solidFill>
                  <a:schemeClr val="accent1">
                    <a:lumMod val="50000"/>
                  </a:schemeClr>
                </a:solidFill>
              </a:rPr>
              <a:t> (</a:t>
            </a:r>
            <a:r>
              <a:rPr lang="de-DE" sz="2000" dirty="0" err="1" smtClean="0">
                <a:solidFill>
                  <a:schemeClr val="accent1">
                    <a:lumMod val="50000"/>
                  </a:schemeClr>
                </a:solidFill>
              </a:rPr>
              <a:t>only</a:t>
            </a:r>
            <a:r>
              <a:rPr lang="de-DE" sz="20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sz="2000" dirty="0" err="1" smtClean="0">
                <a:solidFill>
                  <a:schemeClr val="accent1">
                    <a:lumMod val="50000"/>
                  </a:schemeClr>
                </a:solidFill>
              </a:rPr>
              <a:t>successful</a:t>
            </a:r>
            <a:r>
              <a:rPr lang="de-DE" sz="20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de-DE" sz="2000" dirty="0" err="1" smtClean="0">
                <a:solidFill>
                  <a:schemeClr val="accent1">
                    <a:lumMod val="50000"/>
                  </a:schemeClr>
                </a:solidFill>
              </a:rPr>
              <a:t>participation</a:t>
            </a:r>
            <a:r>
              <a:rPr lang="de-DE" sz="2000" dirty="0" smtClean="0">
                <a:solidFill>
                  <a:schemeClr val="accent1">
                    <a:lumMod val="50000"/>
                  </a:schemeClr>
                </a:solidFill>
              </a:rPr>
              <a:t>)</a:t>
            </a:r>
            <a:endParaRPr lang="de-DE" sz="20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429482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31640" y="2780928"/>
            <a:ext cx="6264696" cy="1143000"/>
          </a:xfrm>
        </p:spPr>
        <p:txBody>
          <a:bodyPr/>
          <a:lstStyle/>
          <a:p>
            <a:r>
              <a:rPr lang="de-DE" dirty="0" err="1" smtClean="0"/>
              <a:t>Thank</a:t>
            </a:r>
            <a:r>
              <a:rPr lang="de-DE" dirty="0" smtClean="0"/>
              <a:t> </a:t>
            </a:r>
            <a:r>
              <a:rPr lang="de-DE" dirty="0" err="1" smtClean="0"/>
              <a:t>you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attention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0E41DD31-796B-47D9-8FA7-8CE45BCCA82B}" type="slidenum">
              <a:rPr lang="de-DE" smtClean="0"/>
              <a:pPr>
                <a:defRPr/>
              </a:pPr>
              <a:t>3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6272546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600" dirty="0" smtClean="0"/>
              <a:t>Bachelor at HU: Schedule </a:t>
            </a:r>
            <a:r>
              <a:rPr lang="de-DE" altLang="de-DE" sz="3600" dirty="0" err="1"/>
              <a:t>O</a:t>
            </a:r>
            <a:r>
              <a:rPr lang="de-DE" altLang="de-DE" sz="3600" dirty="0" err="1" smtClean="0"/>
              <a:t>verview</a:t>
            </a:r>
            <a:endParaRPr lang="de-DE" altLang="de-DE" sz="3600" dirty="0" smtClean="0"/>
          </a:p>
        </p:txBody>
      </p:sp>
      <p:sp>
        <p:nvSpPr>
          <p:cNvPr id="9219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7367748C-2AE9-410D-B61C-ECCF9E373CBD}" type="slidenum">
              <a:rPr lang="de-DE" smtClean="0"/>
              <a:pPr>
                <a:defRPr/>
              </a:pPr>
              <a:t>4</a:t>
            </a:fld>
            <a:endParaRPr lang="de-DE" smtClean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2557075"/>
              </p:ext>
            </p:extLst>
          </p:nvPr>
        </p:nvGraphicFramePr>
        <p:xfrm>
          <a:off x="446088" y="2078038"/>
          <a:ext cx="8288337" cy="4097339"/>
        </p:xfrm>
        <a:graphic>
          <a:graphicData uri="http://schemas.openxmlformats.org/drawingml/2006/table">
            <a:tbl>
              <a:tblPr/>
              <a:tblGrid>
                <a:gridCol w="1041400"/>
                <a:gridCol w="709612"/>
                <a:gridCol w="838200"/>
                <a:gridCol w="838200"/>
                <a:gridCol w="838200"/>
                <a:gridCol w="838200"/>
                <a:gridCol w="838200"/>
                <a:gridCol w="781050"/>
                <a:gridCol w="782638"/>
                <a:gridCol w="782637"/>
              </a:tblGrid>
              <a:tr h="2921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cs typeface="Times New Roman" pitchFamily="18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cs typeface="Times New Roman" pitchFamily="18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715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1. Semester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Fundamentals of Programmierung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(OO, Java) 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Basics of theoretical informatics 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Mathematics 1: Linear </a:t>
                      </a:r>
                      <a:b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</a:b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Algebra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Arial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Second subject  </a:t>
                      </a: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715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2. Semester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Algorithms and data structures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      Compiler construction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Digital systems: basics and architectures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Informatic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and </a:t>
                      </a:r>
                      <a:b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</a:b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Society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Arial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Second </a:t>
                      </a:r>
                      <a:r>
                        <a:rPr kumimoji="0" lang="de-DE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subject</a:t>
                      </a:r>
                      <a:r>
                        <a:rPr kumimoji="0" lang="de-DE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  </a:t>
                      </a:r>
                      <a:endParaRPr kumimoji="0" lang="de-DE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715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3. Semester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Software Engineering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Logic in informatics 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Seminar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Mathematics 2: Analysis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Arial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Second </a:t>
                      </a:r>
                      <a:r>
                        <a:rPr kumimoji="0" lang="de-DE" sz="9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subject</a:t>
                      </a:r>
                      <a:r>
                        <a:rPr kumimoji="0" lang="de-DE" sz="9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  </a:t>
                      </a:r>
                      <a:endParaRPr kumimoji="0" lang="de-DE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89535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4. Semester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Operating systems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Database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systems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cs typeface="Arial" charset="0"/>
                        </a:rPr>
                        <a:t>Communication systems: basics and network architectures</a:t>
                      </a:r>
                      <a:endParaRPr kumimoji="0" lang="de-DE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Arial" charset="0"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cs typeface="Times New Roman" pitchFamily="18" charset="0"/>
                        </a:rPr>
                        <a:t>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Mathematics 3: Numerics &amp; Stochastics  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ahoma" pitchFamily="34" charset="0"/>
                        <a:cs typeface="Arial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Second subject  </a:t>
                      </a: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767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5. Semester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Semester Project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cs typeface="Times New Roman" pitchFamily="18" charset="0"/>
                        </a:rPr>
                        <a:t>Elective modules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  </a:t>
                      </a:r>
                      <a:endParaRPr kumimoji="0" lang="de-DE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cs typeface="Times New Roman" pitchFamily="18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Second subject  </a:t>
                      </a: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4767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6. Semester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ea typeface="Times New Roman" pitchFamily="18" charset="0"/>
                          <a:cs typeface="Verdana" pitchFamily="34" charset="0"/>
                        </a:rPr>
                        <a:t>Bachelor thesis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Verdana" pitchFamily="34" charset="0"/>
                          <a:cs typeface="Times New Roman" pitchFamily="18" charset="0"/>
                        </a:rPr>
                        <a:t>Elective modules</a:t>
                      </a: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de-DE" sz="9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ahoma" pitchFamily="34" charset="0"/>
                          <a:cs typeface="Arial" charset="0"/>
                        </a:rPr>
                        <a:t>Second subject  </a:t>
                      </a: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de-DE" sz="9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Verdana" pitchFamily="34" charset="0"/>
                        <a:ea typeface="Times New Roman" pitchFamily="18" charset="0"/>
                        <a:cs typeface="Verdana" pitchFamily="34" charset="0"/>
                      </a:endParaRPr>
                    </a:p>
                  </a:txBody>
                  <a:tcPr marL="37931" marR="379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282" name="Rectangle 1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endParaRPr lang="de-DE" altLang="de-DE"/>
          </a:p>
        </p:txBody>
      </p:sp>
      <p:sp>
        <p:nvSpPr>
          <p:cNvPr id="9283" name="Rechteck 5"/>
          <p:cNvSpPr>
            <a:spLocks noChangeArrowheads="1"/>
          </p:cNvSpPr>
          <p:nvPr/>
        </p:nvSpPr>
        <p:spPr bwMode="auto">
          <a:xfrm>
            <a:off x="1405550" y="5193196"/>
            <a:ext cx="1763713" cy="492196"/>
          </a:xfrm>
          <a:prstGeom prst="rect">
            <a:avLst/>
          </a:prstGeom>
          <a:noFill/>
          <a:ln w="34925" algn="ctr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284" name="Rechteck 6"/>
          <p:cNvSpPr>
            <a:spLocks noChangeArrowheads="1"/>
          </p:cNvSpPr>
          <p:nvPr/>
        </p:nvSpPr>
        <p:spPr bwMode="auto">
          <a:xfrm>
            <a:off x="1403350" y="2312988"/>
            <a:ext cx="1763713" cy="611187"/>
          </a:xfrm>
          <a:prstGeom prst="rect">
            <a:avLst/>
          </a:prstGeom>
          <a:noFill/>
          <a:ln w="34925" algn="ctr">
            <a:solidFill>
              <a:srgbClr val="FF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9285" name="Rechteck 7"/>
          <p:cNvSpPr>
            <a:spLocks noChangeArrowheads="1"/>
          </p:cNvSpPr>
          <p:nvPr/>
        </p:nvSpPr>
        <p:spPr bwMode="auto">
          <a:xfrm>
            <a:off x="1403350" y="3681028"/>
            <a:ext cx="1763713" cy="468313"/>
          </a:xfrm>
          <a:prstGeom prst="rect">
            <a:avLst/>
          </a:prstGeom>
          <a:noFill/>
          <a:ln w="34925" algn="ctr">
            <a:solidFill>
              <a:srgbClr val="FF0000"/>
            </a:solidFill>
            <a:prstDash val="dash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2" name="Abgerundetes Rechteck 1"/>
          <p:cNvSpPr/>
          <p:nvPr/>
        </p:nvSpPr>
        <p:spPr bwMode="auto">
          <a:xfrm>
            <a:off x="5364088" y="2744923"/>
            <a:ext cx="3528392" cy="1584177"/>
          </a:xfrm>
          <a:prstGeom prst="roundRect">
            <a:avLst/>
          </a:prstGeom>
          <a:solidFill>
            <a:srgbClr val="FFFFCC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396000" tIns="216000" rIns="396000" bIns="252000" numCol="1" rtlCol="0" anchor="t" anchorCtr="0" compatLnSpc="1">
            <a:prstTxWarp prst="textNoShape">
              <a:avLst/>
            </a:prstTxWarp>
          </a:bodyPr>
          <a:lstStyle/>
          <a:p>
            <a:r>
              <a:rPr lang="en-US" sz="1400" dirty="0"/>
              <a:t>Elinda </a:t>
            </a:r>
            <a:r>
              <a:rPr lang="en-US" sz="1400" dirty="0" err="1"/>
              <a:t>Kajo-Meçe</a:t>
            </a:r>
            <a:r>
              <a:rPr lang="en-US" sz="1400" dirty="0"/>
              <a:t>: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/>
              <a:t>The </a:t>
            </a:r>
            <a:r>
              <a:rPr lang="en-US" sz="1400" dirty="0"/>
              <a:t>challenges as supervisor of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/>
              <a:t> </a:t>
            </a:r>
            <a:r>
              <a:rPr lang="en-US" sz="1400" dirty="0"/>
              <a:t>students' software projects </a:t>
            </a:r>
            <a:r>
              <a:rPr lang="en-US" sz="1400" dirty="0" smtClean="0"/>
              <a:t/>
            </a:r>
            <a:br>
              <a:rPr lang="en-US" sz="1400" dirty="0" smtClean="0"/>
            </a:br>
            <a:r>
              <a:rPr lang="en-US" sz="1400" dirty="0" smtClean="0"/>
              <a:t>in competitions</a:t>
            </a:r>
          </a:p>
          <a:p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</a:rPr>
              <a:t>Optional project</a:t>
            </a:r>
            <a:endParaRPr kumimoji="0" lang="de-DE" sz="1800" b="1" i="0" u="none" strike="noStrike" cap="none" normalizeH="0" baseline="0" dirty="0" smtClean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</a:endParaRPr>
          </a:p>
        </p:txBody>
      </p:sp>
      <p:sp>
        <p:nvSpPr>
          <p:cNvPr id="10" name="Abgerundetes Rechteck 9"/>
          <p:cNvSpPr/>
          <p:nvPr/>
        </p:nvSpPr>
        <p:spPr bwMode="auto">
          <a:xfrm>
            <a:off x="3203848" y="5199253"/>
            <a:ext cx="2016224" cy="792088"/>
          </a:xfrm>
          <a:prstGeom prst="roundRect">
            <a:avLst/>
          </a:prstGeom>
          <a:solidFill>
            <a:srgbClr val="FFFFCC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396000" tIns="216000" rIns="396000" bIns="252000" numCol="1" rtlCol="0" anchor="t" anchorCtr="0" compatLnSpc="1">
            <a:prstTxWarp prst="textNoShape">
              <a:avLst/>
            </a:prstTxWarp>
          </a:bodyPr>
          <a:lstStyle/>
          <a:p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</a:rPr>
              <a:t>Obligatory </a:t>
            </a:r>
            <a:endParaRPr kumimoji="0" lang="de-DE" sz="1800" b="1" i="0" u="none" strike="noStrike" cap="none" normalizeH="0" baseline="0" dirty="0" smtClean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val="407827485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altLang="de-DE" sz="3600" dirty="0" smtClean="0"/>
              <a:t>Semester </a:t>
            </a:r>
            <a:r>
              <a:rPr lang="de-DE" altLang="de-DE" sz="3600" dirty="0" err="1" smtClean="0"/>
              <a:t>project</a:t>
            </a:r>
            <a:r>
              <a:rPr lang="de-DE" altLang="de-DE" sz="3600" dirty="0" smtClean="0"/>
              <a:t> </a:t>
            </a:r>
            <a:br>
              <a:rPr lang="de-DE" altLang="de-DE" sz="3600" dirty="0" smtClean="0"/>
            </a:br>
            <a:r>
              <a:rPr lang="de-DE" altLang="de-DE" sz="2800" dirty="0" smtClean="0"/>
              <a:t>(</a:t>
            </a:r>
            <a:r>
              <a:rPr lang="de-DE" altLang="de-DE" sz="2800" dirty="0" err="1" smtClean="0"/>
              <a:t>from</a:t>
            </a:r>
            <a:r>
              <a:rPr lang="de-DE" altLang="de-DE" sz="2800" dirty="0" smtClean="0"/>
              <a:t> </a:t>
            </a:r>
            <a:r>
              <a:rPr lang="de-DE" altLang="de-DE" sz="2800" dirty="0" err="1" smtClean="0"/>
              <a:t>curriculum</a:t>
            </a:r>
            <a:r>
              <a:rPr lang="de-DE" altLang="de-DE" sz="2800" dirty="0" smtClean="0"/>
              <a:t> </a:t>
            </a:r>
            <a:r>
              <a:rPr lang="de-DE" altLang="de-DE" sz="2800" dirty="0" err="1" smtClean="0"/>
              <a:t>description</a:t>
            </a:r>
            <a:r>
              <a:rPr lang="de-DE" altLang="de-DE" sz="2800" dirty="0" smtClean="0"/>
              <a:t>)</a:t>
            </a:r>
          </a:p>
        </p:txBody>
      </p:sp>
      <p:sp>
        <p:nvSpPr>
          <p:cNvPr id="133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27584" y="2024844"/>
            <a:ext cx="7772400" cy="4464496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de-DE" altLang="de-DE" sz="2400" dirty="0" smtClean="0"/>
              <a:t>Goal: </a:t>
            </a:r>
            <a:r>
              <a:rPr lang="de-DE" altLang="de-DE" sz="2400" dirty="0" err="1" smtClean="0"/>
              <a:t>gain</a:t>
            </a:r>
            <a:r>
              <a:rPr lang="de-DE" altLang="de-DE" sz="2400" dirty="0" smtClean="0"/>
              <a:t> </a:t>
            </a:r>
            <a:r>
              <a:rPr lang="de-DE" altLang="de-DE" sz="2400" dirty="0" err="1" smtClean="0"/>
              <a:t>project</a:t>
            </a:r>
            <a:r>
              <a:rPr lang="de-DE" altLang="de-DE" sz="2400" dirty="0" smtClean="0"/>
              <a:t> </a:t>
            </a:r>
            <a:r>
              <a:rPr lang="de-DE" altLang="de-DE" sz="2400" dirty="0" err="1" smtClean="0"/>
              <a:t>experience</a:t>
            </a:r>
            <a:r>
              <a:rPr lang="de-DE" altLang="de-DE" sz="2400" dirty="0" smtClean="0"/>
              <a:t> </a:t>
            </a:r>
          </a:p>
          <a:p>
            <a:pPr lvl="1">
              <a:lnSpc>
                <a:spcPct val="90000"/>
              </a:lnSpc>
            </a:pPr>
            <a:r>
              <a:rPr lang="de-DE" altLang="de-DE" sz="2000" dirty="0" err="1" smtClean="0"/>
              <a:t>Whole</a:t>
            </a:r>
            <a:r>
              <a:rPr lang="de-DE" altLang="de-DE" sz="2000" dirty="0" smtClean="0"/>
              <a:t> </a:t>
            </a:r>
            <a:r>
              <a:rPr lang="de-DE" altLang="de-DE" sz="2000" dirty="0" err="1" smtClean="0"/>
              <a:t>software</a:t>
            </a:r>
            <a:r>
              <a:rPr lang="de-DE" altLang="de-DE" sz="2000" dirty="0" smtClean="0"/>
              <a:t> </a:t>
            </a:r>
            <a:r>
              <a:rPr lang="de-DE" altLang="de-DE" sz="2000" dirty="0" err="1" smtClean="0"/>
              <a:t>cycle</a:t>
            </a:r>
            <a:r>
              <a:rPr lang="de-DE" altLang="de-DE" sz="2000" dirty="0" smtClean="0"/>
              <a:t>: </a:t>
            </a:r>
            <a:r>
              <a:rPr lang="de-DE" altLang="de-DE" sz="2000" dirty="0" smtClean="0"/>
              <a:t/>
            </a:r>
            <a:br>
              <a:rPr lang="de-DE" altLang="de-DE" sz="2000" dirty="0" smtClean="0"/>
            </a:br>
            <a:r>
              <a:rPr lang="de-DE" altLang="de-DE" sz="2000" dirty="0" smtClean="0"/>
              <a:t>  - </a:t>
            </a:r>
            <a:r>
              <a:rPr lang="de-DE" altLang="de-DE" sz="2000" dirty="0" err="1" smtClean="0"/>
              <a:t>requirements</a:t>
            </a:r>
            <a:r>
              <a:rPr lang="de-DE" altLang="de-DE" sz="2000" dirty="0" smtClean="0"/>
              <a:t> </a:t>
            </a:r>
            <a:r>
              <a:rPr lang="de-DE" altLang="de-DE" sz="2000" dirty="0" err="1" smtClean="0"/>
              <a:t>negotiation</a:t>
            </a:r>
            <a:r>
              <a:rPr lang="de-DE" altLang="de-DE" sz="2000" dirty="0" smtClean="0"/>
              <a:t>, </a:t>
            </a:r>
            <a:br>
              <a:rPr lang="de-DE" altLang="de-DE" sz="2000" dirty="0" smtClean="0"/>
            </a:br>
            <a:r>
              <a:rPr lang="de-DE" altLang="de-DE" sz="2000" dirty="0" smtClean="0"/>
              <a:t>  - find </a:t>
            </a:r>
            <a:r>
              <a:rPr lang="de-DE" altLang="de-DE" sz="2000" dirty="0" err="1" smtClean="0"/>
              <a:t>useful</a:t>
            </a:r>
            <a:r>
              <a:rPr lang="de-DE" altLang="de-DE" sz="2000" dirty="0" smtClean="0"/>
              <a:t> design</a:t>
            </a:r>
            <a:r>
              <a:rPr lang="de-DE" altLang="de-DE" sz="2000" dirty="0" smtClean="0"/>
              <a:t>, </a:t>
            </a:r>
            <a:r>
              <a:rPr lang="de-DE" altLang="de-DE" sz="2000" dirty="0" smtClean="0"/>
              <a:t/>
            </a:r>
            <a:br>
              <a:rPr lang="de-DE" altLang="de-DE" sz="2000" dirty="0" smtClean="0"/>
            </a:br>
            <a:r>
              <a:rPr lang="de-DE" altLang="de-DE" sz="2000" dirty="0" smtClean="0"/>
              <a:t>  - </a:t>
            </a:r>
            <a:r>
              <a:rPr lang="de-DE" altLang="de-DE" sz="2000" dirty="0" err="1" smtClean="0"/>
              <a:t>coding</a:t>
            </a:r>
            <a:r>
              <a:rPr lang="de-DE" altLang="de-DE" sz="2000" dirty="0" smtClean="0"/>
              <a:t>, </a:t>
            </a:r>
            <a:r>
              <a:rPr lang="de-DE" altLang="de-DE" sz="2000" dirty="0" smtClean="0"/>
              <a:t/>
            </a:r>
            <a:br>
              <a:rPr lang="de-DE" altLang="de-DE" sz="2000" dirty="0" smtClean="0"/>
            </a:br>
            <a:r>
              <a:rPr lang="de-DE" altLang="de-DE" sz="2000" dirty="0" smtClean="0"/>
              <a:t>  - </a:t>
            </a:r>
            <a:r>
              <a:rPr lang="de-DE" altLang="de-DE" sz="2000" dirty="0" err="1" smtClean="0"/>
              <a:t>systematic</a:t>
            </a:r>
            <a:r>
              <a:rPr lang="de-DE" altLang="de-DE" sz="2000" dirty="0" smtClean="0"/>
              <a:t> </a:t>
            </a:r>
            <a:r>
              <a:rPr lang="de-DE" altLang="de-DE" sz="2000" dirty="0" err="1" smtClean="0"/>
              <a:t>testing</a:t>
            </a:r>
            <a:r>
              <a:rPr lang="de-DE" altLang="de-DE" sz="2000" dirty="0" smtClean="0"/>
              <a:t> </a:t>
            </a:r>
            <a:endParaRPr lang="de-DE" altLang="de-DE" sz="2000" dirty="0" smtClean="0"/>
          </a:p>
          <a:p>
            <a:pPr lvl="1">
              <a:lnSpc>
                <a:spcPct val="90000"/>
              </a:lnSpc>
            </a:pPr>
            <a:r>
              <a:rPr lang="de-DE" altLang="de-DE" sz="2000" dirty="0" smtClean="0"/>
              <a:t>Team </a:t>
            </a:r>
            <a:r>
              <a:rPr lang="de-DE" altLang="de-DE" sz="2000" dirty="0" err="1" smtClean="0"/>
              <a:t>work</a:t>
            </a:r>
            <a:endParaRPr lang="de-DE" altLang="de-DE" sz="2000" dirty="0" smtClean="0"/>
          </a:p>
          <a:p>
            <a:pPr lvl="1">
              <a:lnSpc>
                <a:spcPct val="90000"/>
              </a:lnSpc>
            </a:pPr>
            <a:r>
              <a:rPr lang="de-DE" altLang="de-DE" sz="2000" dirty="0" smtClean="0"/>
              <a:t>Project </a:t>
            </a:r>
            <a:r>
              <a:rPr lang="de-DE" altLang="de-DE" sz="2000" dirty="0" err="1" smtClean="0"/>
              <a:t>management</a:t>
            </a:r>
            <a:r>
              <a:rPr lang="de-DE" altLang="de-DE" sz="2000" dirty="0" smtClean="0"/>
              <a:t> </a:t>
            </a:r>
            <a:r>
              <a:rPr lang="de-DE" altLang="de-DE" sz="2000" dirty="0" err="1" smtClean="0"/>
              <a:t>experience</a:t>
            </a:r>
            <a:endParaRPr lang="de-DE" altLang="de-DE" sz="2000" dirty="0" smtClean="0"/>
          </a:p>
          <a:p>
            <a:pPr lvl="1">
              <a:lnSpc>
                <a:spcPct val="90000"/>
              </a:lnSpc>
            </a:pPr>
            <a:r>
              <a:rPr lang="de-DE" altLang="de-DE" sz="2000" dirty="0" err="1" smtClean="0"/>
              <a:t>Use</a:t>
            </a:r>
            <a:r>
              <a:rPr lang="de-DE" altLang="de-DE" sz="2000" dirty="0" smtClean="0"/>
              <a:t> </a:t>
            </a:r>
            <a:r>
              <a:rPr lang="de-DE" altLang="de-DE" sz="2000" dirty="0" err="1" smtClean="0"/>
              <a:t>of</a:t>
            </a:r>
            <a:r>
              <a:rPr lang="de-DE" altLang="de-DE" sz="2000" dirty="0" smtClean="0"/>
              <a:t> </a:t>
            </a:r>
            <a:r>
              <a:rPr lang="de-DE" altLang="de-DE" sz="2000" dirty="0" err="1" smtClean="0"/>
              <a:t>software</a:t>
            </a:r>
            <a:r>
              <a:rPr lang="de-DE" altLang="de-DE" sz="2000" dirty="0" smtClean="0"/>
              <a:t> </a:t>
            </a:r>
            <a:r>
              <a:rPr lang="de-DE" altLang="de-DE" sz="2000" dirty="0" err="1" smtClean="0"/>
              <a:t>tools</a:t>
            </a:r>
            <a:r>
              <a:rPr lang="de-DE" altLang="de-DE" sz="2400" dirty="0" smtClean="0"/>
              <a:t> </a:t>
            </a:r>
            <a:endParaRPr lang="de-DE" altLang="de-DE" sz="2400" dirty="0" smtClean="0"/>
          </a:p>
          <a:p>
            <a:pPr>
              <a:lnSpc>
                <a:spcPct val="90000"/>
              </a:lnSpc>
            </a:pPr>
            <a:r>
              <a:rPr lang="de-DE" altLang="de-DE" sz="2400" dirty="0" err="1" smtClean="0"/>
              <a:t>Results</a:t>
            </a:r>
            <a:r>
              <a:rPr lang="de-DE" altLang="de-DE" sz="2400" dirty="0" smtClean="0"/>
              <a:t> </a:t>
            </a:r>
            <a:r>
              <a:rPr lang="de-DE" altLang="de-DE" sz="2400" dirty="0" err="1" smtClean="0"/>
              <a:t>have</a:t>
            </a:r>
            <a:r>
              <a:rPr lang="de-DE" altLang="de-DE" sz="2400" dirty="0" smtClean="0"/>
              <a:t> </a:t>
            </a:r>
            <a:r>
              <a:rPr lang="de-DE" altLang="de-DE" sz="2400" dirty="0" err="1" smtClean="0"/>
              <a:t>to</a:t>
            </a:r>
            <a:r>
              <a:rPr lang="de-DE" altLang="de-DE" sz="2400" dirty="0" smtClean="0"/>
              <a:t> </a:t>
            </a:r>
            <a:r>
              <a:rPr lang="de-DE" altLang="de-DE" sz="2400" dirty="0" err="1" smtClean="0"/>
              <a:t>be</a:t>
            </a:r>
            <a:r>
              <a:rPr lang="de-DE" altLang="de-DE" sz="2400" dirty="0" smtClean="0"/>
              <a:t> </a:t>
            </a:r>
            <a:r>
              <a:rPr lang="de-DE" altLang="de-DE" sz="2400" dirty="0" err="1" smtClean="0"/>
              <a:t>presented</a:t>
            </a:r>
            <a:endParaRPr lang="de-DE" altLang="de-DE" sz="2400" dirty="0" smtClean="0"/>
          </a:p>
          <a:p>
            <a:pPr>
              <a:lnSpc>
                <a:spcPct val="90000"/>
              </a:lnSpc>
            </a:pPr>
            <a:r>
              <a:rPr lang="de-DE" altLang="de-DE" sz="2400" dirty="0" smtClean="0"/>
              <a:t>Substantial </a:t>
            </a:r>
            <a:r>
              <a:rPr lang="de-DE" altLang="de-DE" sz="2400" dirty="0" err="1" smtClean="0"/>
              <a:t>effort</a:t>
            </a:r>
            <a:r>
              <a:rPr lang="de-DE" altLang="de-DE" sz="2400" dirty="0" smtClean="0"/>
              <a:t>: </a:t>
            </a:r>
            <a:br>
              <a:rPr lang="de-DE" altLang="de-DE" sz="2400" dirty="0" smtClean="0"/>
            </a:br>
            <a:r>
              <a:rPr lang="de-DE" altLang="de-DE" sz="2400" dirty="0" smtClean="0"/>
              <a:t>   12 ECTS (i.e. 2 </a:t>
            </a:r>
            <a:r>
              <a:rPr lang="de-DE" altLang="de-DE" sz="2400" dirty="0" err="1" smtClean="0"/>
              <a:t>days</a:t>
            </a:r>
            <a:r>
              <a:rPr lang="de-DE" altLang="de-DE" sz="2400" dirty="0" smtClean="0"/>
              <a:t> per </a:t>
            </a:r>
            <a:r>
              <a:rPr lang="de-DE" altLang="de-DE" sz="2400" dirty="0" err="1" smtClean="0"/>
              <a:t>week</a:t>
            </a:r>
            <a:r>
              <a:rPr lang="de-DE" altLang="de-DE" sz="2400" dirty="0" smtClean="0"/>
              <a:t> </a:t>
            </a:r>
            <a:r>
              <a:rPr lang="de-DE" altLang="de-DE" sz="2400" dirty="0" err="1" smtClean="0"/>
              <a:t>for</a:t>
            </a:r>
            <a:r>
              <a:rPr lang="de-DE" altLang="de-DE" sz="2400" dirty="0" smtClean="0"/>
              <a:t> a </a:t>
            </a:r>
            <a:r>
              <a:rPr lang="de-DE" altLang="de-DE" sz="2400" dirty="0" err="1" smtClean="0"/>
              <a:t>semester</a:t>
            </a:r>
            <a:r>
              <a:rPr lang="de-DE" altLang="de-DE" sz="2400" dirty="0" smtClean="0"/>
              <a:t>)</a:t>
            </a:r>
            <a:endParaRPr lang="de-DE" altLang="de-DE" sz="2400" dirty="0" smtClean="0"/>
          </a:p>
        </p:txBody>
      </p:sp>
    </p:spTree>
    <p:extLst>
      <p:ext uri="{BB962C8B-B14F-4D97-AF65-F5344CB8AC3E}">
        <p14:creationId xmlns:p14="http://schemas.microsoft.com/office/powerpoint/2010/main" val="3448057212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"/>
          <p:cNvSpPr>
            <a:spLocks noChangeArrowheads="1"/>
          </p:cNvSpPr>
          <p:nvPr/>
        </p:nvSpPr>
        <p:spPr bwMode="auto">
          <a:xfrm>
            <a:off x="215900" y="2709602"/>
            <a:ext cx="8604250" cy="863414"/>
          </a:xfrm>
          <a:prstGeom prst="rect">
            <a:avLst/>
          </a:prstGeom>
          <a:gradFill rotWithShape="1">
            <a:gsLst>
              <a:gs pos="0">
                <a:srgbClr val="FFCC00">
                  <a:alpha val="50000"/>
                </a:srgbClr>
              </a:gs>
              <a:gs pos="100000">
                <a:srgbClr val="765E00">
                  <a:alpha val="0"/>
                </a:srgbClr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  <a:cs typeface="Arial" charset="0"/>
              </a:defRPr>
            </a:lvl9pPr>
          </a:lstStyle>
          <a:p>
            <a:pPr eaLnBrk="1" hangingPunct="1"/>
            <a:endParaRPr lang="de-DE" altLang="de-DE"/>
          </a:p>
        </p:txBody>
      </p:sp>
      <p:sp>
        <p:nvSpPr>
          <p:cNvPr id="6147" name="AutoShap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de-DE" smtClean="0"/>
              <a:t>Contents</a:t>
            </a:r>
          </a:p>
        </p:txBody>
      </p:sp>
      <p:sp>
        <p:nvSpPr>
          <p:cNvPr id="614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482600" y="1700808"/>
            <a:ext cx="8661400" cy="4573587"/>
          </a:xfrm>
        </p:spPr>
        <p:txBody>
          <a:bodyPr/>
          <a:lstStyle/>
          <a:p>
            <a:pPr eaLnBrk="1" hangingPunct="1">
              <a:buFont typeface="Wingdings" pitchFamily="2" charset="2"/>
              <a:buNone/>
            </a:pPr>
            <a:endParaRPr lang="en-US" altLang="de-DE" dirty="0" smtClean="0"/>
          </a:p>
          <a:p>
            <a:pPr eaLnBrk="1" hangingPunct="1"/>
            <a:r>
              <a:rPr lang="en-US" altLang="de-DE" sz="2400" dirty="0" smtClean="0"/>
              <a:t>Bachelor Curriculum at HU</a:t>
            </a:r>
          </a:p>
          <a:p>
            <a:pPr eaLnBrk="1" hangingPunct="1"/>
            <a:r>
              <a:rPr lang="en-US" altLang="de-DE" sz="2400" dirty="0" smtClean="0"/>
              <a:t>Cooperation with a Company at a Semester Project </a:t>
            </a:r>
            <a:br>
              <a:rPr lang="en-US" altLang="de-DE" sz="2400" dirty="0" smtClean="0"/>
            </a:br>
            <a:r>
              <a:rPr lang="en-US" altLang="de-DE" sz="2400" dirty="0" smtClean="0"/>
              <a:t>during WS 2014/15</a:t>
            </a:r>
          </a:p>
          <a:p>
            <a:pPr eaLnBrk="1" hangingPunct="1"/>
            <a:r>
              <a:rPr lang="en-US" altLang="de-DE" sz="2400" dirty="0" smtClean="0"/>
              <a:t>Task, Special Features and Technology</a:t>
            </a:r>
          </a:p>
          <a:p>
            <a:pPr eaLnBrk="1" hangingPunct="1"/>
            <a:r>
              <a:rPr lang="en-US" altLang="de-DE" sz="2400" dirty="0" smtClean="0"/>
              <a:t>Agile Development with Scrum</a:t>
            </a:r>
          </a:p>
          <a:p>
            <a:pPr eaLnBrk="1" hangingPunct="1"/>
            <a:r>
              <a:rPr lang="en-US" altLang="de-DE" sz="2400" dirty="0" smtClean="0"/>
              <a:t>Agenda and Results</a:t>
            </a:r>
          </a:p>
          <a:p>
            <a:pPr eaLnBrk="1" hangingPunct="1"/>
            <a:r>
              <a:rPr lang="en-US" altLang="de-DE" sz="2400" dirty="0" smtClean="0"/>
              <a:t>Conclusion</a:t>
            </a:r>
          </a:p>
        </p:txBody>
      </p:sp>
    </p:spTree>
    <p:extLst>
      <p:ext uri="{BB962C8B-B14F-4D97-AF65-F5344CB8AC3E}">
        <p14:creationId xmlns:p14="http://schemas.microsoft.com/office/powerpoint/2010/main" val="3239603243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Foliennummernplatzhalt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fld id="{03C85D58-244A-4EB2-988B-9F114627CEAD}" type="slidenum">
              <a:rPr lang="de-DE" altLang="de-DE" sz="1400" b="0" smtClean="0"/>
              <a:pPr eaLnBrk="1" hangingPunct="1"/>
              <a:t>7</a:t>
            </a:fld>
            <a:endParaRPr lang="de-DE" altLang="de-DE" sz="1400" b="0" smtClean="0"/>
          </a:p>
        </p:txBody>
      </p:sp>
      <p:sp>
        <p:nvSpPr>
          <p:cNvPr id="5" name="Rectangle 2"/>
          <p:cNvSpPr txBox="1">
            <a:spLocks noChangeArrowheads="1"/>
          </p:cNvSpPr>
          <p:nvPr/>
        </p:nvSpPr>
        <p:spPr bwMode="auto">
          <a:xfrm>
            <a:off x="1340074" y="944724"/>
            <a:ext cx="6256262" cy="755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ahom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ahom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ahom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ahoma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ahoma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ahoma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ahoma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altLang="de-DE" sz="3600" b="0" kern="0" dirty="0" err="1" smtClean="0">
                <a:solidFill>
                  <a:srgbClr val="800000"/>
                </a:solidFill>
              </a:rPr>
              <a:t>Our</a:t>
            </a:r>
            <a:r>
              <a:rPr lang="de-DE" altLang="de-DE" sz="3600" b="0" kern="0" dirty="0" smtClean="0">
                <a:solidFill>
                  <a:srgbClr val="800000"/>
                </a:solidFill>
              </a:rPr>
              <a:t> </a:t>
            </a:r>
            <a:r>
              <a:rPr lang="de-DE" altLang="de-DE" sz="3600" b="0" kern="0" dirty="0" err="1" smtClean="0">
                <a:solidFill>
                  <a:srgbClr val="800000"/>
                </a:solidFill>
              </a:rPr>
              <a:t>semester</a:t>
            </a:r>
            <a:r>
              <a:rPr lang="de-DE" altLang="de-DE" sz="3600" b="0" kern="0" dirty="0" smtClean="0">
                <a:solidFill>
                  <a:srgbClr val="800000"/>
                </a:solidFill>
              </a:rPr>
              <a:t> </a:t>
            </a:r>
            <a:r>
              <a:rPr lang="de-DE" altLang="de-DE" sz="3600" b="0" kern="0" dirty="0" err="1" smtClean="0">
                <a:solidFill>
                  <a:srgbClr val="800000"/>
                </a:solidFill>
              </a:rPr>
              <a:t>project</a:t>
            </a:r>
            <a:r>
              <a:rPr lang="de-DE" altLang="de-DE" sz="3600" b="0" kern="0" dirty="0" smtClean="0"/>
              <a:t> </a:t>
            </a:r>
            <a:endParaRPr lang="en-US" altLang="de-DE" sz="3600" b="0" kern="0" dirty="0" smtClean="0"/>
          </a:p>
        </p:txBody>
      </p:sp>
      <p:sp>
        <p:nvSpPr>
          <p:cNvPr id="8" name="Rechteck 7"/>
          <p:cNvSpPr/>
          <p:nvPr/>
        </p:nvSpPr>
        <p:spPr>
          <a:xfrm>
            <a:off x="647564" y="2176403"/>
            <a:ext cx="8100900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buFont typeface="Wingdings" pitchFamily="2" charset="2"/>
              <a:buChar char="§"/>
            </a:pPr>
            <a:r>
              <a:rPr lang="de-DE" altLang="de-DE" b="0" dirty="0" smtClean="0"/>
              <a:t> Joint </a:t>
            </a:r>
            <a:r>
              <a:rPr lang="de-DE" altLang="de-DE" b="0" dirty="0" err="1" smtClean="0"/>
              <a:t>project</a:t>
            </a:r>
            <a:r>
              <a:rPr lang="de-DE" altLang="de-DE" b="0" dirty="0" smtClean="0"/>
              <a:t> </a:t>
            </a:r>
            <a:r>
              <a:rPr lang="de-DE" altLang="de-DE" b="0" dirty="0" err="1" smtClean="0"/>
              <a:t>with</a:t>
            </a:r>
            <a:r>
              <a:rPr lang="de-DE" altLang="de-DE" b="0" dirty="0" smtClean="0"/>
              <a:t> </a:t>
            </a:r>
            <a:r>
              <a:rPr lang="de-DE" altLang="de-DE" b="0" dirty="0" err="1" smtClean="0"/>
              <a:t>software</a:t>
            </a:r>
            <a:r>
              <a:rPr lang="de-DE" altLang="de-DE" b="0" dirty="0" smtClean="0"/>
              <a:t> </a:t>
            </a:r>
            <a:r>
              <a:rPr lang="de-DE" altLang="de-DE" b="0" dirty="0" err="1" smtClean="0"/>
              <a:t>company</a:t>
            </a:r>
            <a:r>
              <a:rPr lang="de-DE" altLang="de-DE" b="0" dirty="0" smtClean="0"/>
              <a:t> </a:t>
            </a:r>
            <a:r>
              <a:rPr lang="de-DE" altLang="de-DE" b="0" dirty="0" err="1" smtClean="0"/>
              <a:t>Capgemini</a:t>
            </a:r>
            <a:endParaRPr lang="de-DE" altLang="de-DE" b="0" dirty="0" smtClean="0"/>
          </a:p>
          <a:p>
            <a:pPr eaLnBrk="1" hangingPunct="1">
              <a:buFont typeface="Wingdings" pitchFamily="2" charset="2"/>
              <a:buChar char="§"/>
            </a:pPr>
            <a:endParaRPr lang="de-DE" altLang="de-DE" b="0" dirty="0" smtClean="0"/>
          </a:p>
          <a:p>
            <a:pPr eaLnBrk="1" hangingPunct="1">
              <a:buFont typeface="Wingdings" pitchFamily="2" charset="2"/>
              <a:buChar char="§"/>
            </a:pPr>
            <a:r>
              <a:rPr lang="de-DE" altLang="de-DE" b="0" dirty="0" smtClean="0"/>
              <a:t> First </a:t>
            </a:r>
            <a:r>
              <a:rPr lang="de-DE" altLang="de-DE" b="0" dirty="0" err="1" smtClean="0"/>
              <a:t>semester</a:t>
            </a:r>
            <a:r>
              <a:rPr lang="de-DE" altLang="de-DE" b="0" dirty="0" smtClean="0"/>
              <a:t> </a:t>
            </a:r>
            <a:r>
              <a:rPr lang="de-DE" altLang="de-DE" b="0" dirty="0" err="1" smtClean="0"/>
              <a:t>project</a:t>
            </a:r>
            <a:r>
              <a:rPr lang="de-DE" altLang="de-DE" b="0" dirty="0" smtClean="0"/>
              <a:t> </a:t>
            </a:r>
            <a:r>
              <a:rPr lang="de-DE" altLang="de-DE" b="0" dirty="0" err="1" smtClean="0"/>
              <a:t>at</a:t>
            </a:r>
            <a:r>
              <a:rPr lang="de-DE" altLang="de-DE" b="0" dirty="0" smtClean="0"/>
              <a:t> </a:t>
            </a:r>
            <a:r>
              <a:rPr lang="de-DE" altLang="de-DE" b="0" dirty="0" err="1" smtClean="0"/>
              <a:t>the</a:t>
            </a:r>
            <a:r>
              <a:rPr lang="de-DE" altLang="de-DE" b="0" dirty="0" smtClean="0"/>
              <a:t> </a:t>
            </a:r>
            <a:r>
              <a:rPr lang="de-DE" altLang="de-DE" b="0" dirty="0" err="1" smtClean="0"/>
              <a:t>institute</a:t>
            </a:r>
            <a:r>
              <a:rPr lang="de-DE" altLang="de-DE" b="0" dirty="0" smtClean="0"/>
              <a:t> in</a:t>
            </a:r>
          </a:p>
          <a:p>
            <a:pPr eaLnBrk="1" hangingPunct="1"/>
            <a:r>
              <a:rPr lang="de-DE" altLang="de-DE" b="0" dirty="0" smtClean="0"/>
              <a:t>  </a:t>
            </a:r>
            <a:r>
              <a:rPr lang="de-DE" altLang="de-DE" b="0" dirty="0" err="1" smtClean="0"/>
              <a:t>cooperation</a:t>
            </a:r>
            <a:r>
              <a:rPr lang="de-DE" altLang="de-DE" b="0" dirty="0" smtClean="0"/>
              <a:t> </a:t>
            </a:r>
            <a:r>
              <a:rPr lang="de-DE" altLang="de-DE" b="0" dirty="0" err="1" smtClean="0"/>
              <a:t>with</a:t>
            </a:r>
            <a:r>
              <a:rPr lang="de-DE" altLang="de-DE" b="0" dirty="0" smtClean="0"/>
              <a:t> </a:t>
            </a:r>
            <a:r>
              <a:rPr lang="de-DE" altLang="de-DE" b="0" dirty="0" err="1" smtClean="0"/>
              <a:t>industry</a:t>
            </a:r>
            <a:r>
              <a:rPr lang="de-DE" altLang="de-DE" b="0" dirty="0" smtClean="0"/>
              <a:t> </a:t>
            </a:r>
            <a:r>
              <a:rPr lang="de-DE" altLang="de-DE" b="0" dirty="0" err="1" smtClean="0"/>
              <a:t>since</a:t>
            </a:r>
            <a:r>
              <a:rPr lang="de-DE" altLang="de-DE" b="0" dirty="0" smtClean="0"/>
              <a:t> </a:t>
            </a:r>
            <a:r>
              <a:rPr lang="de-DE" altLang="de-DE" b="0" dirty="0" err="1" smtClean="0"/>
              <a:t>introduction</a:t>
            </a:r>
            <a:r>
              <a:rPr lang="de-DE" altLang="de-DE" b="0" dirty="0" smtClean="0"/>
              <a:t> in</a:t>
            </a:r>
          </a:p>
          <a:p>
            <a:pPr eaLnBrk="1" hangingPunct="1"/>
            <a:r>
              <a:rPr lang="de-DE" altLang="de-DE" b="0" dirty="0" smtClean="0"/>
              <a:t>  2011 (Bachelor at HU </a:t>
            </a:r>
            <a:r>
              <a:rPr lang="de-DE" altLang="de-DE" b="0" dirty="0" err="1" smtClean="0"/>
              <a:t>since</a:t>
            </a:r>
            <a:r>
              <a:rPr lang="de-DE" altLang="de-DE" b="0" dirty="0" smtClean="0"/>
              <a:t> 2009)</a:t>
            </a:r>
          </a:p>
          <a:p>
            <a:pPr eaLnBrk="1" hangingPunct="1">
              <a:buFont typeface="Wingdings" pitchFamily="2" charset="2"/>
              <a:buChar char="§"/>
            </a:pPr>
            <a:endParaRPr lang="de-DE" b="0" dirty="0" smtClean="0"/>
          </a:p>
          <a:p>
            <a:pPr eaLnBrk="1" hangingPunct="1">
              <a:buFont typeface="Wingdings" pitchFamily="2" charset="2"/>
              <a:buChar char="§"/>
            </a:pPr>
            <a:r>
              <a:rPr lang="de-DE" altLang="de-DE" b="0" dirty="0" smtClean="0">
                <a:solidFill>
                  <a:schemeClr val="tx2"/>
                </a:solidFill>
              </a:rPr>
              <a:t> Title</a:t>
            </a:r>
            <a:br>
              <a:rPr lang="de-DE" altLang="de-DE" b="0" dirty="0" smtClean="0">
                <a:solidFill>
                  <a:schemeClr val="tx2"/>
                </a:solidFill>
              </a:rPr>
            </a:br>
            <a:r>
              <a:rPr lang="de-DE" altLang="de-DE" b="0" dirty="0" smtClean="0">
                <a:solidFill>
                  <a:schemeClr val="tx2"/>
                </a:solidFill>
              </a:rPr>
              <a:t>  „Development </a:t>
            </a:r>
            <a:r>
              <a:rPr lang="de-DE" altLang="de-DE" b="0" dirty="0" err="1" smtClean="0">
                <a:solidFill>
                  <a:schemeClr val="tx2"/>
                </a:solidFill>
              </a:rPr>
              <a:t>of</a:t>
            </a:r>
            <a:r>
              <a:rPr lang="de-DE" altLang="de-DE" b="0" dirty="0" smtClean="0">
                <a:solidFill>
                  <a:schemeClr val="tx2"/>
                </a:solidFill>
              </a:rPr>
              <a:t> an intermodal </a:t>
            </a:r>
            <a:r>
              <a:rPr lang="de-DE" altLang="de-DE" b="0" dirty="0" err="1" smtClean="0">
                <a:solidFill>
                  <a:schemeClr val="tx2"/>
                </a:solidFill>
              </a:rPr>
              <a:t>mobility</a:t>
            </a:r>
            <a:endParaRPr lang="de-DE" altLang="de-DE" b="0" dirty="0" smtClean="0">
              <a:solidFill>
                <a:schemeClr val="tx2"/>
              </a:solidFill>
            </a:endParaRPr>
          </a:p>
          <a:p>
            <a:pPr eaLnBrk="1" hangingPunct="1"/>
            <a:r>
              <a:rPr lang="de-DE" altLang="de-DE" b="0" dirty="0" smtClean="0">
                <a:solidFill>
                  <a:schemeClr val="tx2"/>
                </a:solidFill>
              </a:rPr>
              <a:t>    </a:t>
            </a:r>
            <a:r>
              <a:rPr lang="de-DE" altLang="de-DE" b="0" dirty="0" err="1" smtClean="0">
                <a:solidFill>
                  <a:schemeClr val="tx2"/>
                </a:solidFill>
              </a:rPr>
              <a:t>platform</a:t>
            </a:r>
            <a:r>
              <a:rPr lang="de-DE" altLang="de-DE" b="0" dirty="0" smtClean="0">
                <a:solidFill>
                  <a:schemeClr val="tx2"/>
                </a:solidFill>
              </a:rPr>
              <a:t> </a:t>
            </a:r>
            <a:r>
              <a:rPr lang="de-DE" altLang="de-DE" b="0" dirty="0" err="1" smtClean="0">
                <a:solidFill>
                  <a:schemeClr val="tx2"/>
                </a:solidFill>
              </a:rPr>
              <a:t>based</a:t>
            </a:r>
            <a:r>
              <a:rPr lang="de-DE" altLang="de-DE" b="0" dirty="0" smtClean="0">
                <a:solidFill>
                  <a:schemeClr val="tx2"/>
                </a:solidFill>
              </a:rPr>
              <a:t> on </a:t>
            </a:r>
            <a:r>
              <a:rPr lang="de-DE" altLang="de-DE" b="0" dirty="0" err="1" smtClean="0">
                <a:solidFill>
                  <a:schemeClr val="tx2"/>
                </a:solidFill>
              </a:rPr>
              <a:t>Salesforce</a:t>
            </a:r>
            <a:r>
              <a:rPr lang="de-DE" altLang="de-DE" b="0" dirty="0" smtClean="0">
                <a:solidFill>
                  <a:schemeClr val="tx2"/>
                </a:solidFill>
              </a:rPr>
              <a:t>“</a:t>
            </a:r>
            <a:endParaRPr lang="de-DE" b="0" dirty="0" smtClean="0">
              <a:solidFill>
                <a:schemeClr val="tx2"/>
              </a:solidFill>
            </a:endParaRPr>
          </a:p>
          <a:p>
            <a:pPr eaLnBrk="1" hangingPunct="1"/>
            <a:endParaRPr lang="de-DE" b="0" dirty="0" smtClean="0"/>
          </a:p>
          <a:p>
            <a:pPr eaLnBrk="1" hangingPunct="1">
              <a:buFontTx/>
              <a:buChar char="-"/>
            </a:pP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53171327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Foliennummernplatzhalt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fld id="{03C85D58-244A-4EB2-988B-9F114627CEAD}" type="slidenum">
              <a:rPr lang="de-DE" altLang="de-DE" sz="1400" b="0" smtClean="0"/>
              <a:pPr eaLnBrk="1" hangingPunct="1"/>
              <a:t>8</a:t>
            </a:fld>
            <a:endParaRPr lang="de-DE" altLang="de-DE" sz="1400" b="0" smtClean="0"/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1079612" y="980728"/>
            <a:ext cx="7793038" cy="683927"/>
          </a:xfrm>
        </p:spPr>
        <p:txBody>
          <a:bodyPr/>
          <a:lstStyle/>
          <a:p>
            <a:pPr lvl="0" eaLnBrk="1" hangingPunct="1"/>
            <a:r>
              <a:rPr lang="de-DE" altLang="de-DE" sz="3600" dirty="0" err="1">
                <a:solidFill>
                  <a:srgbClr val="800000"/>
                </a:solidFill>
                <a:latin typeface="Tahoma" pitchFamily="34" charset="0"/>
                <a:ea typeface="+mn-ea"/>
                <a:cs typeface="Arial" charset="0"/>
              </a:rPr>
              <a:t>Our</a:t>
            </a:r>
            <a:r>
              <a:rPr lang="de-DE" altLang="de-DE" sz="3600" dirty="0">
                <a:solidFill>
                  <a:srgbClr val="800000"/>
                </a:solidFill>
                <a:latin typeface="Tahoma" pitchFamily="34" charset="0"/>
                <a:ea typeface="+mn-ea"/>
                <a:cs typeface="Arial" charset="0"/>
              </a:rPr>
              <a:t> </a:t>
            </a:r>
            <a:r>
              <a:rPr lang="de-DE" altLang="de-DE" sz="3600" dirty="0" err="1">
                <a:solidFill>
                  <a:srgbClr val="800000"/>
                </a:solidFill>
                <a:latin typeface="Tahoma" pitchFamily="34" charset="0"/>
                <a:ea typeface="+mn-ea"/>
                <a:cs typeface="Arial" charset="0"/>
              </a:rPr>
              <a:t>semester</a:t>
            </a:r>
            <a:r>
              <a:rPr lang="de-DE" altLang="de-DE" sz="3600" dirty="0">
                <a:solidFill>
                  <a:srgbClr val="800000"/>
                </a:solidFill>
                <a:latin typeface="Tahoma" pitchFamily="34" charset="0"/>
                <a:ea typeface="+mn-ea"/>
                <a:cs typeface="Arial" charset="0"/>
              </a:rPr>
              <a:t> </a:t>
            </a:r>
            <a:r>
              <a:rPr lang="de-DE" altLang="de-DE" sz="3600" dirty="0" err="1" smtClean="0">
                <a:solidFill>
                  <a:srgbClr val="800000"/>
                </a:solidFill>
                <a:latin typeface="Tahoma" pitchFamily="34" charset="0"/>
                <a:ea typeface="+mn-ea"/>
                <a:cs typeface="Arial" charset="0"/>
              </a:rPr>
              <a:t>project</a:t>
            </a:r>
            <a:r>
              <a:rPr lang="de-DE" altLang="de-DE" sz="3600" dirty="0" smtClean="0">
                <a:solidFill>
                  <a:srgbClr val="800000"/>
                </a:solidFill>
                <a:latin typeface="Tahoma" pitchFamily="34" charset="0"/>
                <a:ea typeface="+mn-ea"/>
                <a:cs typeface="Arial" charset="0"/>
              </a:rPr>
              <a:t> </a:t>
            </a:r>
            <a:r>
              <a:rPr lang="de-DE" altLang="de-DE" sz="3600" dirty="0" err="1" smtClean="0">
                <a:solidFill>
                  <a:srgbClr val="800000"/>
                </a:solidFill>
                <a:latin typeface="Tahoma" pitchFamily="34" charset="0"/>
                <a:ea typeface="+mn-ea"/>
                <a:cs typeface="Arial" charset="0"/>
              </a:rPr>
              <a:t>characteristics</a:t>
            </a:r>
            <a:r>
              <a:rPr lang="de-DE" altLang="de-DE" sz="3600" dirty="0" smtClean="0">
                <a:solidFill>
                  <a:srgbClr val="000000"/>
                </a:solidFill>
                <a:latin typeface="Tahoma" pitchFamily="34" charset="0"/>
                <a:ea typeface="+mn-ea"/>
                <a:cs typeface="Arial" charset="0"/>
              </a:rPr>
              <a:t> </a:t>
            </a:r>
            <a:endParaRPr lang="en-US" altLang="de-DE" sz="3600" dirty="0">
              <a:solidFill>
                <a:srgbClr val="000000"/>
              </a:solidFill>
              <a:latin typeface="Tahoma" pitchFamily="34" charset="0"/>
              <a:ea typeface="+mn-ea"/>
              <a:cs typeface="Arial" charset="0"/>
            </a:endParaRPr>
          </a:p>
        </p:txBody>
      </p:sp>
      <p:sp>
        <p:nvSpPr>
          <p:cNvPr id="6148" name="Text Box 3"/>
          <p:cNvSpPr txBox="1">
            <a:spLocks noChangeArrowheads="1"/>
          </p:cNvSpPr>
          <p:nvPr/>
        </p:nvSpPr>
        <p:spPr bwMode="auto">
          <a:xfrm>
            <a:off x="867989" y="2312876"/>
            <a:ext cx="7634288" cy="267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de-DE" altLang="de-DE" sz="2800" dirty="0" err="1" smtClean="0">
                <a:solidFill>
                  <a:schemeClr val="tx2">
                    <a:lumMod val="75000"/>
                  </a:schemeClr>
                </a:solidFill>
              </a:rPr>
              <a:t>What</a:t>
            </a:r>
            <a:r>
              <a:rPr lang="de-DE" altLang="de-DE" sz="2800" dirty="0" smtClean="0">
                <a:solidFill>
                  <a:schemeClr val="tx2">
                    <a:lumMod val="75000"/>
                  </a:schemeClr>
                </a:solidFill>
              </a:rPr>
              <a:t> was </a:t>
            </a:r>
            <a:r>
              <a:rPr lang="de-DE" altLang="de-DE" sz="2800" dirty="0" err="1" smtClean="0">
                <a:solidFill>
                  <a:schemeClr val="tx2">
                    <a:lumMod val="75000"/>
                  </a:schemeClr>
                </a:solidFill>
              </a:rPr>
              <a:t>special</a:t>
            </a:r>
            <a:endParaRPr lang="de-DE" altLang="de-DE" sz="2800" dirty="0" smtClean="0">
              <a:solidFill>
                <a:schemeClr val="tx2">
                  <a:lumMod val="75000"/>
                </a:schemeClr>
              </a:solidFill>
            </a:endParaRPr>
          </a:p>
          <a:p>
            <a:pPr eaLnBrk="1" hangingPunct="1"/>
            <a:endParaRPr lang="de-DE" altLang="de-DE" sz="2800" b="0" dirty="0">
              <a:solidFill>
                <a:srgbClr val="800000"/>
              </a:solidFill>
            </a:endParaRPr>
          </a:p>
          <a:p>
            <a:pPr marL="342900" indent="-342900" eaLnBrk="1" hangingPunct="1">
              <a:buFontTx/>
              <a:buChar char="-"/>
            </a:pPr>
            <a:r>
              <a:rPr lang="de-DE" altLang="de-DE" sz="2800" b="0" dirty="0" err="1" smtClean="0">
                <a:solidFill>
                  <a:schemeClr val="tx2">
                    <a:lumMod val="75000"/>
                  </a:schemeClr>
                </a:solidFill>
              </a:rPr>
              <a:t>Cooperation</a:t>
            </a:r>
            <a:r>
              <a:rPr lang="de-DE" altLang="de-DE" sz="2800" b="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altLang="de-DE" sz="2800" b="0" dirty="0" err="1" smtClean="0">
                <a:solidFill>
                  <a:schemeClr val="tx2">
                    <a:lumMod val="75000"/>
                  </a:schemeClr>
                </a:solidFill>
              </a:rPr>
              <a:t>with</a:t>
            </a:r>
            <a:r>
              <a:rPr lang="de-DE" altLang="de-DE" sz="2800" b="0" dirty="0" smtClean="0">
                <a:solidFill>
                  <a:schemeClr val="tx2">
                    <a:lumMod val="75000"/>
                  </a:schemeClr>
                </a:solidFill>
              </a:rPr>
              <a:t> a larger </a:t>
            </a:r>
            <a:r>
              <a:rPr lang="de-DE" altLang="de-DE" sz="2800" b="0" dirty="0" err="1" smtClean="0">
                <a:solidFill>
                  <a:schemeClr val="tx2">
                    <a:lumMod val="75000"/>
                  </a:schemeClr>
                </a:solidFill>
              </a:rPr>
              <a:t>software</a:t>
            </a:r>
            <a:r>
              <a:rPr lang="de-DE" altLang="de-DE" sz="2800" b="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altLang="de-DE" sz="2800" b="0" dirty="0" err="1" smtClean="0">
                <a:solidFill>
                  <a:schemeClr val="tx2">
                    <a:lumMod val="75000"/>
                  </a:schemeClr>
                </a:solidFill>
              </a:rPr>
              <a:t>company</a:t>
            </a:r>
            <a:r>
              <a:rPr lang="de-DE" altLang="de-DE" sz="2800" b="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</a:p>
          <a:p>
            <a:pPr marL="342900" indent="-342900" eaLnBrk="1" hangingPunct="1">
              <a:buFontTx/>
              <a:buChar char="-"/>
            </a:pPr>
            <a:r>
              <a:rPr lang="de-DE" altLang="de-DE" sz="2800" b="0" dirty="0" smtClean="0">
                <a:solidFill>
                  <a:schemeClr val="tx2">
                    <a:lumMod val="75000"/>
                  </a:schemeClr>
                </a:solidFill>
              </a:rPr>
              <a:t>Real-</a:t>
            </a:r>
            <a:r>
              <a:rPr lang="de-DE" altLang="de-DE" sz="2800" b="0" dirty="0" err="1" smtClean="0">
                <a:solidFill>
                  <a:schemeClr val="tx2">
                    <a:lumMod val="75000"/>
                  </a:schemeClr>
                </a:solidFill>
              </a:rPr>
              <a:t>world</a:t>
            </a:r>
            <a:r>
              <a:rPr lang="de-DE" altLang="de-DE" sz="2800" b="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r>
              <a:rPr lang="de-DE" altLang="de-DE" sz="2800" b="0" dirty="0" err="1" smtClean="0">
                <a:solidFill>
                  <a:schemeClr val="tx2">
                    <a:lumMod val="75000"/>
                  </a:schemeClr>
                </a:solidFill>
              </a:rPr>
              <a:t>task</a:t>
            </a:r>
            <a:r>
              <a:rPr lang="de-DE" altLang="de-DE" sz="2800" b="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</a:p>
          <a:p>
            <a:pPr marL="342900" indent="-342900" eaLnBrk="1" hangingPunct="1">
              <a:buFontTx/>
              <a:buChar char="-"/>
            </a:pPr>
            <a:r>
              <a:rPr lang="de-DE" altLang="de-DE" sz="2800" b="0" dirty="0" smtClean="0">
                <a:solidFill>
                  <a:schemeClr val="tx2">
                    <a:lumMod val="75000"/>
                  </a:schemeClr>
                </a:solidFill>
              </a:rPr>
              <a:t>Modern </a:t>
            </a:r>
            <a:r>
              <a:rPr lang="de-DE" altLang="de-DE" sz="2800" b="0" dirty="0" err="1" smtClean="0">
                <a:solidFill>
                  <a:schemeClr val="tx2">
                    <a:lumMod val="75000"/>
                  </a:schemeClr>
                </a:solidFill>
              </a:rPr>
              <a:t>technologies</a:t>
            </a:r>
            <a:r>
              <a:rPr lang="de-DE" altLang="de-DE" sz="2800" b="0" dirty="0" smtClean="0">
                <a:solidFill>
                  <a:schemeClr val="tx2">
                    <a:lumMod val="75000"/>
                  </a:schemeClr>
                </a:solidFill>
              </a:rPr>
              <a:t>: </a:t>
            </a:r>
            <a:r>
              <a:rPr lang="de-DE" altLang="de-DE" sz="2800" b="0" dirty="0" err="1" smtClean="0">
                <a:solidFill>
                  <a:schemeClr val="tx2">
                    <a:lumMod val="75000"/>
                  </a:schemeClr>
                </a:solidFill>
              </a:rPr>
              <a:t>Salesforce</a:t>
            </a:r>
            <a:r>
              <a:rPr lang="de-DE" altLang="de-DE" sz="2800" b="0" dirty="0" smtClean="0">
                <a:solidFill>
                  <a:schemeClr val="tx2">
                    <a:lumMod val="75000"/>
                  </a:schemeClr>
                </a:solidFill>
              </a:rPr>
              <a:t> (</a:t>
            </a:r>
            <a:r>
              <a:rPr lang="de-DE" altLang="de-DE" sz="2800" b="0" dirty="0" err="1" smtClean="0">
                <a:solidFill>
                  <a:schemeClr val="tx2">
                    <a:lumMod val="75000"/>
                  </a:schemeClr>
                </a:solidFill>
              </a:rPr>
              <a:t>cloud</a:t>
            </a:r>
            <a:r>
              <a:rPr lang="de-DE" altLang="de-DE" sz="2800" b="0" dirty="0" smtClean="0">
                <a:solidFill>
                  <a:schemeClr val="tx2">
                    <a:lumMod val="75000"/>
                  </a:schemeClr>
                </a:solidFill>
              </a:rPr>
              <a:t>) </a:t>
            </a:r>
          </a:p>
          <a:p>
            <a:pPr marL="342900" indent="-342900" eaLnBrk="1" hangingPunct="1">
              <a:buFontTx/>
              <a:buChar char="-"/>
            </a:pPr>
            <a:r>
              <a:rPr lang="de-DE" altLang="de-DE" sz="2800" b="0" dirty="0" smtClean="0">
                <a:solidFill>
                  <a:schemeClr val="tx2">
                    <a:lumMod val="75000"/>
                  </a:schemeClr>
                </a:solidFill>
              </a:rPr>
              <a:t>Agile </a:t>
            </a:r>
            <a:r>
              <a:rPr lang="de-DE" altLang="de-DE" sz="2800" b="0" dirty="0" err="1" smtClean="0">
                <a:solidFill>
                  <a:schemeClr val="tx2">
                    <a:lumMod val="75000"/>
                  </a:schemeClr>
                </a:solidFill>
              </a:rPr>
              <a:t>development</a:t>
            </a:r>
            <a:r>
              <a:rPr lang="de-DE" altLang="de-DE" sz="2800" b="0" dirty="0" smtClean="0">
                <a:solidFill>
                  <a:schemeClr val="tx2">
                    <a:lumMod val="75000"/>
                  </a:schemeClr>
                </a:solidFill>
              </a:rPr>
              <a:t> </a:t>
            </a:r>
            <a:endParaRPr lang="en-US" altLang="de-DE" sz="2800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7880494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Foliennummernplatzhalter 4"/>
          <p:cNvSpPr>
            <a:spLocks noGrp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 b="1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fld id="{03C85D58-244A-4EB2-988B-9F114627CEAD}" type="slidenum">
              <a:rPr lang="de-DE" altLang="de-DE" sz="1400" b="0" smtClean="0"/>
              <a:pPr eaLnBrk="1" hangingPunct="1"/>
              <a:t>9</a:t>
            </a:fld>
            <a:endParaRPr lang="de-DE" altLang="de-DE" sz="1400" b="0" smtClean="0"/>
          </a:p>
        </p:txBody>
      </p:sp>
      <p:sp>
        <p:nvSpPr>
          <p:cNvPr id="6147" name="Rectangle 2"/>
          <p:cNvSpPr>
            <a:spLocks noGrp="1" noChangeArrowheads="1"/>
          </p:cNvSpPr>
          <p:nvPr>
            <p:ph type="title"/>
          </p:nvPr>
        </p:nvSpPr>
        <p:spPr>
          <a:xfrm>
            <a:off x="1079500" y="333375"/>
            <a:ext cx="7793038" cy="1511300"/>
          </a:xfrm>
        </p:spPr>
        <p:txBody>
          <a:bodyPr/>
          <a:lstStyle/>
          <a:p>
            <a:pPr marL="342900" indent="-342900" eaLnBrk="1" hangingPunct="1"/>
            <a:r>
              <a:rPr lang="de-DE" altLang="de-DE" sz="3200" b="0" dirty="0" smtClean="0">
                <a:solidFill>
                  <a:srgbClr val="800000"/>
                </a:solidFill>
              </a:rPr>
              <a:t>Software </a:t>
            </a:r>
            <a:r>
              <a:rPr lang="de-DE" altLang="de-DE" sz="3200" b="0" dirty="0" err="1" smtClean="0">
                <a:solidFill>
                  <a:srgbClr val="800000"/>
                </a:solidFill>
              </a:rPr>
              <a:t>company</a:t>
            </a:r>
            <a:r>
              <a:rPr lang="de-DE" altLang="de-DE" sz="3200" b="0" dirty="0" smtClean="0">
                <a:solidFill>
                  <a:srgbClr val="800000"/>
                </a:solidFill>
              </a:rPr>
              <a:t> „</a:t>
            </a:r>
            <a:r>
              <a:rPr lang="de-DE" altLang="de-DE" sz="3200" b="0" dirty="0" err="1" smtClean="0">
                <a:solidFill>
                  <a:srgbClr val="800000"/>
                </a:solidFill>
              </a:rPr>
              <a:t>Capgemini</a:t>
            </a:r>
            <a:r>
              <a:rPr lang="de-DE" altLang="de-DE" sz="3200" b="0" dirty="0" smtClean="0">
                <a:solidFill>
                  <a:srgbClr val="800000"/>
                </a:solidFill>
              </a:rPr>
              <a:t>“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395536" y="2469907"/>
            <a:ext cx="8494057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sz="22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800" b="0" dirty="0" err="1" smtClean="0"/>
              <a:t>One</a:t>
            </a:r>
            <a:r>
              <a:rPr lang="de-DE" sz="2800" b="0" dirty="0" smtClean="0"/>
              <a:t> </a:t>
            </a:r>
            <a:r>
              <a:rPr lang="de-DE" sz="2800" b="0" dirty="0" err="1" smtClean="0"/>
              <a:t>of</a:t>
            </a:r>
            <a:r>
              <a:rPr lang="de-DE" sz="2800" b="0" dirty="0" smtClean="0"/>
              <a:t> </a:t>
            </a:r>
            <a:r>
              <a:rPr lang="de-DE" sz="2800" b="0" dirty="0" err="1" smtClean="0"/>
              <a:t>the</a:t>
            </a:r>
            <a:r>
              <a:rPr lang="de-DE" sz="2800" b="0" dirty="0" smtClean="0"/>
              <a:t> </a:t>
            </a:r>
            <a:r>
              <a:rPr lang="de-DE" sz="2800" b="0" dirty="0" err="1" smtClean="0"/>
              <a:t>leading</a:t>
            </a:r>
            <a:r>
              <a:rPr lang="de-DE" sz="2800" b="0" dirty="0" smtClean="0"/>
              <a:t> IT </a:t>
            </a:r>
            <a:r>
              <a:rPr lang="de-DE" sz="2800" b="0" dirty="0" err="1" smtClean="0"/>
              <a:t>service</a:t>
            </a:r>
            <a:r>
              <a:rPr lang="de-DE" sz="2800" b="0" dirty="0" smtClean="0"/>
              <a:t> </a:t>
            </a:r>
            <a:r>
              <a:rPr lang="de-DE" sz="2800" b="0" dirty="0" err="1" smtClean="0"/>
              <a:t>providers</a:t>
            </a:r>
            <a:r>
              <a:rPr lang="de-DE" sz="2800" b="0" dirty="0"/>
              <a:t> </a:t>
            </a:r>
            <a:r>
              <a:rPr lang="de-DE" sz="2800" b="0" dirty="0" err="1" smtClean="0"/>
              <a:t>world-wide</a:t>
            </a:r>
            <a:endParaRPr lang="de-DE" sz="2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800" b="0" dirty="0" err="1" smtClean="0"/>
              <a:t>About</a:t>
            </a:r>
            <a:r>
              <a:rPr lang="de-DE" sz="2800" b="0" dirty="0" smtClean="0"/>
              <a:t> 125.000 </a:t>
            </a:r>
            <a:r>
              <a:rPr lang="de-DE" sz="2800" b="0" dirty="0" err="1" smtClean="0"/>
              <a:t>members</a:t>
            </a:r>
            <a:r>
              <a:rPr lang="de-DE" sz="2800" b="0" dirty="0" smtClean="0"/>
              <a:t> in 44 countr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800" b="0" dirty="0" smtClean="0"/>
              <a:t>Development </a:t>
            </a:r>
            <a:r>
              <a:rPr lang="de-DE" sz="2800" b="0" dirty="0" err="1" smtClean="0"/>
              <a:t>of</a:t>
            </a:r>
            <a:r>
              <a:rPr lang="de-DE" sz="2800" b="0" dirty="0" smtClean="0"/>
              <a:t> individual </a:t>
            </a:r>
            <a:r>
              <a:rPr lang="de-DE" sz="2800" b="0" dirty="0" err="1" smtClean="0"/>
              <a:t>software</a:t>
            </a:r>
            <a:endParaRPr lang="de-DE" sz="2800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800" b="0" dirty="0" smtClean="0"/>
              <a:t>German </a:t>
            </a:r>
            <a:r>
              <a:rPr lang="de-DE" sz="2800" b="0" dirty="0" err="1" smtClean="0"/>
              <a:t>main</a:t>
            </a:r>
            <a:r>
              <a:rPr lang="de-DE" sz="2800" b="0" dirty="0" smtClean="0"/>
              <a:t> </a:t>
            </a:r>
            <a:r>
              <a:rPr lang="de-DE" sz="2800" b="0" dirty="0" err="1" smtClean="0"/>
              <a:t>location</a:t>
            </a:r>
            <a:r>
              <a:rPr lang="de-DE" sz="2800" b="0" dirty="0" smtClean="0"/>
              <a:t>: Berli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2800" b="0" dirty="0" smtClean="0">
                <a:hlinkClick r:id="rId2"/>
              </a:rPr>
              <a:t>http://www.de.capgemini.com/</a:t>
            </a:r>
            <a:r>
              <a:rPr lang="de-DE" sz="2800" b="0" dirty="0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98310733"/>
      </p:ext>
    </p:extLst>
  </p:cSld>
  <p:clrMapOvr>
    <a:masterClrMapping/>
  </p:clrMapOvr>
  <p:transition>
    <p:strips dir="rd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nCrkojv0SGcwHGEYrPF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4KUhlsnkSm9yhyCFYpS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ir17zYkEOKrQjij7J_d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nlxQ53SUCFalwIPRbaU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6O2oonXUC.Ah4a29V_I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FNbajSUEaO0T7L3_MyV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bv4V7vT0WxnXgCD5MXW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qnsTkbEesDolNHQoqs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vUGXTBfkqiTxbV6Ty_s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8PWFUdk0KvXkyaGZ3b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LV5mW.q0KZi163Pl1yL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1Y1Bb0l0irz8SJoiUMe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Cn1rK4qUmp5lj5ISq8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rDdt6HIk6q49v0xMSr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GIuHW8gFUKsEtFJDZy1Q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xc0iXCQkmeiJMOi0JxK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jPmYduDEihDAvnsmSIN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079BM2o06hslZIU5JQR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9GXJfe4kWec6UHbfCPK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nDl6hGIEiK2JQntAZnx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Ak9o_lW0Ov.hm_5Xvn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U61rCZf0ui2sg3.Ux._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2dRtYCfkm8Mqm3Rxi5Kw"/>
</p:tagLst>
</file>

<file path=ppt/theme/theme1.xml><?xml version="1.0" encoding="utf-8"?>
<a:theme xmlns:a="http://schemas.openxmlformats.org/drawingml/2006/main" name="Übergänge">
  <a:themeElements>
    <a:clrScheme name="Übergänge 2">
      <a:dk1>
        <a:srgbClr val="000000"/>
      </a:dk1>
      <a:lt1>
        <a:srgbClr val="FFFFFF"/>
      </a:lt1>
      <a:dk2>
        <a:srgbClr val="333399"/>
      </a:dk2>
      <a:lt2>
        <a:srgbClr val="1C1C1C"/>
      </a:lt2>
      <a:accent1>
        <a:srgbClr val="00E4A8"/>
      </a:accent1>
      <a:accent2>
        <a:srgbClr val="FFCF01"/>
      </a:accent2>
      <a:accent3>
        <a:srgbClr val="FFFFFF"/>
      </a:accent3>
      <a:accent4>
        <a:srgbClr val="000000"/>
      </a:accent4>
      <a:accent5>
        <a:srgbClr val="AAEFD1"/>
      </a:accent5>
      <a:accent6>
        <a:srgbClr val="E7BB01"/>
      </a:accent6>
      <a:hlink>
        <a:srgbClr val="FF0000"/>
      </a:hlink>
      <a:folHlink>
        <a:srgbClr val="3333CC"/>
      </a:folHlink>
    </a:clrScheme>
    <a:fontScheme name="Übergä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Übergänge 1">
        <a:dk1>
          <a:srgbClr val="969696"/>
        </a:dk1>
        <a:lt1>
          <a:srgbClr val="FFFFFF"/>
        </a:lt1>
        <a:dk2>
          <a:srgbClr val="000000"/>
        </a:dk2>
        <a:lt2>
          <a:srgbClr val="DDDDDD"/>
        </a:lt2>
        <a:accent1>
          <a:srgbClr val="00E4A8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AAEFD1"/>
        </a:accent5>
        <a:accent6>
          <a:srgbClr val="2D2DB9"/>
        </a:accent6>
        <a:hlink>
          <a:srgbClr val="FF5050"/>
        </a:hlink>
        <a:folHlink>
          <a:srgbClr val="FFCF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Übergänge 2">
        <a:dk1>
          <a:srgbClr val="000000"/>
        </a:dk1>
        <a:lt1>
          <a:srgbClr val="FFFFFF"/>
        </a:lt1>
        <a:dk2>
          <a:srgbClr val="333399"/>
        </a:dk2>
        <a:lt2>
          <a:srgbClr val="1C1C1C"/>
        </a:lt2>
        <a:accent1>
          <a:srgbClr val="00E4A8"/>
        </a:accent1>
        <a:accent2>
          <a:srgbClr val="FFCF01"/>
        </a:accent2>
        <a:accent3>
          <a:srgbClr val="FFFFFF"/>
        </a:accent3>
        <a:accent4>
          <a:srgbClr val="000000"/>
        </a:accent4>
        <a:accent5>
          <a:srgbClr val="AAEFD1"/>
        </a:accent5>
        <a:accent6>
          <a:srgbClr val="E7BB01"/>
        </a:accent6>
        <a:hlink>
          <a:srgbClr val="FF0000"/>
        </a:hlink>
        <a:folHlink>
          <a:srgbClr val="3333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Übergänge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EAEAEA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737373"/>
        </a:accent6>
        <a:hlink>
          <a:srgbClr val="4D4D4D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Übergänge 4">
        <a:dk1>
          <a:srgbClr val="000094"/>
        </a:dk1>
        <a:lt1>
          <a:srgbClr val="FFFFFF"/>
        </a:lt1>
        <a:dk2>
          <a:srgbClr val="0000CC"/>
        </a:dk2>
        <a:lt2>
          <a:srgbClr val="FFFFCC"/>
        </a:lt2>
        <a:accent1>
          <a:srgbClr val="3193FF"/>
        </a:accent1>
        <a:accent2>
          <a:srgbClr val="9900FF"/>
        </a:accent2>
        <a:accent3>
          <a:srgbClr val="AAAAE2"/>
        </a:accent3>
        <a:accent4>
          <a:srgbClr val="DADADA"/>
        </a:accent4>
        <a:accent5>
          <a:srgbClr val="ADC8FF"/>
        </a:accent5>
        <a:accent6>
          <a:srgbClr val="8A00E7"/>
        </a:accent6>
        <a:hlink>
          <a:srgbClr val="FF3399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Übergänge 5">
        <a:dk1>
          <a:srgbClr val="000000"/>
        </a:dk1>
        <a:lt1>
          <a:srgbClr val="FFFFFF"/>
        </a:lt1>
        <a:dk2>
          <a:srgbClr val="000066"/>
        </a:dk2>
        <a:lt2>
          <a:srgbClr val="333333"/>
        </a:lt2>
        <a:accent1>
          <a:srgbClr val="C4709A"/>
        </a:accent1>
        <a:accent2>
          <a:srgbClr val="4B4EB5"/>
        </a:accent2>
        <a:accent3>
          <a:srgbClr val="FFFFFF"/>
        </a:accent3>
        <a:accent4>
          <a:srgbClr val="000000"/>
        </a:accent4>
        <a:accent5>
          <a:srgbClr val="DEBBCA"/>
        </a:accent5>
        <a:accent6>
          <a:srgbClr val="4346A4"/>
        </a:accent6>
        <a:hlink>
          <a:srgbClr val="C481CF"/>
        </a:hlink>
        <a:folHlink>
          <a:srgbClr val="76B7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Übergänge 6">
        <a:dk1>
          <a:srgbClr val="000000"/>
        </a:dk1>
        <a:lt1>
          <a:srgbClr val="FFFFFF"/>
        </a:lt1>
        <a:dk2>
          <a:srgbClr val="6A4076"/>
        </a:dk2>
        <a:lt2>
          <a:srgbClr val="969696"/>
        </a:lt2>
        <a:accent1>
          <a:srgbClr val="DBA9C2"/>
        </a:accent1>
        <a:accent2>
          <a:srgbClr val="E1BF91"/>
        </a:accent2>
        <a:accent3>
          <a:srgbClr val="FFFFFF"/>
        </a:accent3>
        <a:accent4>
          <a:srgbClr val="000000"/>
        </a:accent4>
        <a:accent5>
          <a:srgbClr val="EAD1DD"/>
        </a:accent5>
        <a:accent6>
          <a:srgbClr val="CCAD83"/>
        </a:accent6>
        <a:hlink>
          <a:srgbClr val="B3CE82"/>
        </a:hlink>
        <a:folHlink>
          <a:srgbClr val="B8AD4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Übergänge 7">
        <a:dk1>
          <a:srgbClr val="000000"/>
        </a:dk1>
        <a:lt1>
          <a:srgbClr val="FFFFFF"/>
        </a:lt1>
        <a:dk2>
          <a:srgbClr val="515F7B"/>
        </a:dk2>
        <a:lt2>
          <a:srgbClr val="808080"/>
        </a:lt2>
        <a:accent1>
          <a:srgbClr val="9FCAD3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CDE1E6"/>
        </a:accent5>
        <a:accent6>
          <a:srgbClr val="AEAEAE"/>
        </a:accent6>
        <a:hlink>
          <a:srgbClr val="91AFBF"/>
        </a:hlink>
        <a:folHlink>
          <a:srgbClr val="ECEAA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Closing slides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ysClr val="window" lastClr="FFFFFF"/>
        </a:solidFill>
        <a:ln w="9525" cap="flat" cmpd="sng" algn="ctr">
          <a:solidFill>
            <a:srgbClr val="998C85"/>
          </a:solidFill>
          <a:prstDash val="solid"/>
        </a:ln>
        <a:effectLst/>
      </a:spPr>
      <a:bodyPr rtlCol="0" anchor="t" anchorCtr="0"/>
      <a:lstStyle>
        <a:defPPr marL="0" marR="0" indent="0" algn="ctr" defTabSz="714375" eaLnBrk="1" fontAlgn="base" latinLnBrk="0" hangingPunct="1">
          <a:lnSpc>
            <a:spcPct val="90000"/>
          </a:lnSpc>
          <a:spcBef>
            <a:spcPts val="0"/>
          </a:spcBef>
          <a:spcAft>
            <a:spcPts val="0"/>
          </a:spcAft>
          <a:buClr>
            <a:srgbClr val="AC2B37"/>
          </a:buClr>
          <a:buSzTx/>
          <a:buFontTx/>
          <a:buNone/>
          <a:tabLst/>
          <a:defRPr kumimoji="0" sz="1400" b="0" i="0" u="none" strike="noStrike" kern="0" cap="none" spc="0" normalizeH="0" baseline="0" noProof="0" dirty="0" smtClean="0">
            <a:ln>
              <a:noFill/>
            </a:ln>
            <a:solidFill>
              <a:srgbClr val="000000"/>
            </a:solidFill>
            <a:effectLst/>
            <a:uLnTx/>
            <a:uFillTx/>
            <a:latin typeface="Arial" charset="0"/>
            <a:ea typeface="+mn-ea"/>
            <a:cs typeface="+mn-cs"/>
          </a:defRPr>
        </a:defPPr>
      </a:lstStyle>
    </a:spDef>
  </a:objectDefaults>
  <a:extraClrSchemeLst/>
</a:theme>
</file>

<file path=ppt/theme/theme3.xml><?xml version="1.0" encoding="utf-8"?>
<a:theme xmlns:a="http://schemas.openxmlformats.org/drawingml/2006/main" name="1_Übergänge">
  <a:themeElements>
    <a:clrScheme name="Übergänge 2">
      <a:dk1>
        <a:srgbClr val="000000"/>
      </a:dk1>
      <a:lt1>
        <a:srgbClr val="FFFFFF"/>
      </a:lt1>
      <a:dk2>
        <a:srgbClr val="333399"/>
      </a:dk2>
      <a:lt2>
        <a:srgbClr val="1C1C1C"/>
      </a:lt2>
      <a:accent1>
        <a:srgbClr val="00E4A8"/>
      </a:accent1>
      <a:accent2>
        <a:srgbClr val="FFCF01"/>
      </a:accent2>
      <a:accent3>
        <a:srgbClr val="FFFFFF"/>
      </a:accent3>
      <a:accent4>
        <a:srgbClr val="000000"/>
      </a:accent4>
      <a:accent5>
        <a:srgbClr val="AAEFD1"/>
      </a:accent5>
      <a:accent6>
        <a:srgbClr val="E7BB01"/>
      </a:accent6>
      <a:hlink>
        <a:srgbClr val="FF0000"/>
      </a:hlink>
      <a:folHlink>
        <a:srgbClr val="3333CC"/>
      </a:folHlink>
    </a:clrScheme>
    <a:fontScheme name="Übergänge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miter lim="800000"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ahoma" pitchFamily="34" charset="0"/>
          </a:defRPr>
        </a:defPPr>
      </a:lstStyle>
    </a:lnDef>
  </a:objectDefaults>
  <a:extraClrSchemeLst>
    <a:extraClrScheme>
      <a:clrScheme name="Übergänge 1">
        <a:dk1>
          <a:srgbClr val="969696"/>
        </a:dk1>
        <a:lt1>
          <a:srgbClr val="FFFFFF"/>
        </a:lt1>
        <a:dk2>
          <a:srgbClr val="000000"/>
        </a:dk2>
        <a:lt2>
          <a:srgbClr val="DDDDDD"/>
        </a:lt2>
        <a:accent1>
          <a:srgbClr val="00E4A8"/>
        </a:accent1>
        <a:accent2>
          <a:srgbClr val="3333CC"/>
        </a:accent2>
        <a:accent3>
          <a:srgbClr val="AAAAAA"/>
        </a:accent3>
        <a:accent4>
          <a:srgbClr val="DADADA"/>
        </a:accent4>
        <a:accent5>
          <a:srgbClr val="AAEFD1"/>
        </a:accent5>
        <a:accent6>
          <a:srgbClr val="2D2DB9"/>
        </a:accent6>
        <a:hlink>
          <a:srgbClr val="FF5050"/>
        </a:hlink>
        <a:folHlink>
          <a:srgbClr val="FFCF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Übergänge 2">
        <a:dk1>
          <a:srgbClr val="000000"/>
        </a:dk1>
        <a:lt1>
          <a:srgbClr val="FFFFFF"/>
        </a:lt1>
        <a:dk2>
          <a:srgbClr val="333399"/>
        </a:dk2>
        <a:lt2>
          <a:srgbClr val="1C1C1C"/>
        </a:lt2>
        <a:accent1>
          <a:srgbClr val="00E4A8"/>
        </a:accent1>
        <a:accent2>
          <a:srgbClr val="FFCF01"/>
        </a:accent2>
        <a:accent3>
          <a:srgbClr val="FFFFFF"/>
        </a:accent3>
        <a:accent4>
          <a:srgbClr val="000000"/>
        </a:accent4>
        <a:accent5>
          <a:srgbClr val="AAEFD1"/>
        </a:accent5>
        <a:accent6>
          <a:srgbClr val="E7BB01"/>
        </a:accent6>
        <a:hlink>
          <a:srgbClr val="FF0000"/>
        </a:hlink>
        <a:folHlink>
          <a:srgbClr val="3333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Übergänge 3">
        <a:dk1>
          <a:srgbClr val="000000"/>
        </a:dk1>
        <a:lt1>
          <a:srgbClr val="FFFFFF"/>
        </a:lt1>
        <a:dk2>
          <a:srgbClr val="000000"/>
        </a:dk2>
        <a:lt2>
          <a:srgbClr val="5F5F5F"/>
        </a:lt2>
        <a:accent1>
          <a:srgbClr val="EAEAEA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737373"/>
        </a:accent6>
        <a:hlink>
          <a:srgbClr val="4D4D4D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Übergänge 4">
        <a:dk1>
          <a:srgbClr val="000094"/>
        </a:dk1>
        <a:lt1>
          <a:srgbClr val="FFFFFF"/>
        </a:lt1>
        <a:dk2>
          <a:srgbClr val="0000CC"/>
        </a:dk2>
        <a:lt2>
          <a:srgbClr val="FFFFCC"/>
        </a:lt2>
        <a:accent1>
          <a:srgbClr val="3193FF"/>
        </a:accent1>
        <a:accent2>
          <a:srgbClr val="9900FF"/>
        </a:accent2>
        <a:accent3>
          <a:srgbClr val="AAAAE2"/>
        </a:accent3>
        <a:accent4>
          <a:srgbClr val="DADADA"/>
        </a:accent4>
        <a:accent5>
          <a:srgbClr val="ADC8FF"/>
        </a:accent5>
        <a:accent6>
          <a:srgbClr val="8A00E7"/>
        </a:accent6>
        <a:hlink>
          <a:srgbClr val="FF3399"/>
        </a:hlink>
        <a:folHlink>
          <a:srgbClr val="FFCC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Übergänge 5">
        <a:dk1>
          <a:srgbClr val="000000"/>
        </a:dk1>
        <a:lt1>
          <a:srgbClr val="FFFFFF"/>
        </a:lt1>
        <a:dk2>
          <a:srgbClr val="000066"/>
        </a:dk2>
        <a:lt2>
          <a:srgbClr val="333333"/>
        </a:lt2>
        <a:accent1>
          <a:srgbClr val="C4709A"/>
        </a:accent1>
        <a:accent2>
          <a:srgbClr val="4B4EB5"/>
        </a:accent2>
        <a:accent3>
          <a:srgbClr val="FFFFFF"/>
        </a:accent3>
        <a:accent4>
          <a:srgbClr val="000000"/>
        </a:accent4>
        <a:accent5>
          <a:srgbClr val="DEBBCA"/>
        </a:accent5>
        <a:accent6>
          <a:srgbClr val="4346A4"/>
        </a:accent6>
        <a:hlink>
          <a:srgbClr val="C481CF"/>
        </a:hlink>
        <a:folHlink>
          <a:srgbClr val="76B74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Übergänge 6">
        <a:dk1>
          <a:srgbClr val="000000"/>
        </a:dk1>
        <a:lt1>
          <a:srgbClr val="FFFFFF"/>
        </a:lt1>
        <a:dk2>
          <a:srgbClr val="6A4076"/>
        </a:dk2>
        <a:lt2>
          <a:srgbClr val="969696"/>
        </a:lt2>
        <a:accent1>
          <a:srgbClr val="DBA9C2"/>
        </a:accent1>
        <a:accent2>
          <a:srgbClr val="E1BF91"/>
        </a:accent2>
        <a:accent3>
          <a:srgbClr val="FFFFFF"/>
        </a:accent3>
        <a:accent4>
          <a:srgbClr val="000000"/>
        </a:accent4>
        <a:accent5>
          <a:srgbClr val="EAD1DD"/>
        </a:accent5>
        <a:accent6>
          <a:srgbClr val="CCAD83"/>
        </a:accent6>
        <a:hlink>
          <a:srgbClr val="B3CE82"/>
        </a:hlink>
        <a:folHlink>
          <a:srgbClr val="B8AD4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Übergänge 7">
        <a:dk1>
          <a:srgbClr val="000000"/>
        </a:dk1>
        <a:lt1>
          <a:srgbClr val="FFFFFF"/>
        </a:lt1>
        <a:dk2>
          <a:srgbClr val="515F7B"/>
        </a:dk2>
        <a:lt2>
          <a:srgbClr val="808080"/>
        </a:lt2>
        <a:accent1>
          <a:srgbClr val="9FCAD3"/>
        </a:accent1>
        <a:accent2>
          <a:srgbClr val="C0C0C0"/>
        </a:accent2>
        <a:accent3>
          <a:srgbClr val="FFFFFF"/>
        </a:accent3>
        <a:accent4>
          <a:srgbClr val="000000"/>
        </a:accent4>
        <a:accent5>
          <a:srgbClr val="CDE1E6"/>
        </a:accent5>
        <a:accent6>
          <a:srgbClr val="AEAEAE"/>
        </a:accent6>
        <a:hlink>
          <a:srgbClr val="91AFBF"/>
        </a:hlink>
        <a:folHlink>
          <a:srgbClr val="ECEAA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Blank">
  <a:themeElements>
    <a:clrScheme name="Global 3 black">
      <a:dk1>
        <a:srgbClr val="000000"/>
      </a:dk1>
      <a:lt1>
        <a:sysClr val="window" lastClr="FFFFFF"/>
      </a:lt1>
      <a:dk2>
        <a:srgbClr val="998C85"/>
      </a:dk2>
      <a:lt2>
        <a:srgbClr val="909090"/>
      </a:lt2>
      <a:accent1>
        <a:srgbClr val="FFBC1D"/>
      </a:accent1>
      <a:accent2>
        <a:srgbClr val="E47E1A"/>
      </a:accent2>
      <a:accent3>
        <a:srgbClr val="AC2B37"/>
      </a:accent3>
      <a:accent4>
        <a:srgbClr val="762C7C"/>
      </a:accent4>
      <a:accent5>
        <a:srgbClr val="0098C7"/>
      </a:accent5>
      <a:accent6>
        <a:srgbClr val="B7BE16"/>
      </a:accent6>
      <a:hlink>
        <a:srgbClr val="476856"/>
      </a:hlink>
      <a:folHlink>
        <a:srgbClr val="AF1C63"/>
      </a:folHlink>
    </a:clrScheme>
    <a:fontScheme name="Capgemini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bg2"/>
          </a:solidFill>
        </a:ln>
      </a:spPr>
      <a:bodyPr rtlCol="0" anchor="t" anchorCtr="0"/>
      <a:lstStyle>
        <a:defPPr marL="0" defTabSz="714375" fontAlgn="base">
          <a:lnSpc>
            <a:spcPct val="90000"/>
          </a:lnSpc>
          <a:buClr>
            <a:schemeClr val="tx2"/>
          </a:buClr>
          <a:defRPr sz="1400" dirty="0" smtClean="0">
            <a:solidFill>
              <a:schemeClr val="tx1"/>
            </a:solidFill>
            <a:latin typeface="Arial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  <a:prstDash val="solid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1400" dirty="0" smtClean="0"/>
        </a:defPPr>
      </a:lstStyle>
    </a:txDef>
  </a:objectDefaults>
  <a:extraClrSchemeLst/>
</a:theme>
</file>

<file path=ppt/theme/theme6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:\Programme\Microsoft Office\Templates\Presentation Designs\Übergänge.pot</Template>
  <TotalTime>0</TotalTime>
  <Words>1174</Words>
  <Application>Microsoft Office PowerPoint</Application>
  <PresentationFormat>Bildschirmpräsentation (4:3)</PresentationFormat>
  <Paragraphs>366</Paragraphs>
  <Slides>32</Slides>
  <Notes>8</Notes>
  <HiddenSlides>0</HiddenSlides>
  <MMClips>0</MMClips>
  <ScaleCrop>false</ScaleCrop>
  <HeadingPairs>
    <vt:vector size="6" baseType="variant"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2</vt:i4>
      </vt:variant>
    </vt:vector>
  </HeadingPairs>
  <TitlesOfParts>
    <vt:vector size="38" baseType="lpstr">
      <vt:lpstr>Übergänge</vt:lpstr>
      <vt:lpstr>1_Closing slides</vt:lpstr>
      <vt:lpstr>1_Übergänge</vt:lpstr>
      <vt:lpstr>Larissa-Design</vt:lpstr>
      <vt:lpstr>Blank</vt:lpstr>
      <vt:lpstr>think-cell Slide</vt:lpstr>
      <vt:lpstr>Semester Projects at Humboldt University Berlin: Experiences with an Industry Cooperation</vt:lpstr>
      <vt:lpstr>Contents</vt:lpstr>
      <vt:lpstr>Bachelor at HU: Schedule Overview</vt:lpstr>
      <vt:lpstr>Bachelor at HU: Schedule Overview</vt:lpstr>
      <vt:lpstr>Semester project  (from curriculum description)</vt:lpstr>
      <vt:lpstr>Contents</vt:lpstr>
      <vt:lpstr>PowerPoint-Präsentation</vt:lpstr>
      <vt:lpstr>Our semester project characteristics </vt:lpstr>
      <vt:lpstr>Software company „Capgemini“</vt:lpstr>
      <vt:lpstr>PowerPoint-Präsentation</vt:lpstr>
      <vt:lpstr>Participating students </vt:lpstr>
      <vt:lpstr>Contents</vt:lpstr>
      <vt:lpstr>Intermodal mobility platform</vt:lpstr>
      <vt:lpstr>Cloud Computing Technologies used in the project</vt:lpstr>
      <vt:lpstr>Contents</vt:lpstr>
      <vt:lpstr>Typical agile project: requirements not fixed in the beginning</vt:lpstr>
      <vt:lpstr>PowerPoint-Präsentation</vt:lpstr>
      <vt:lpstr>PowerPoint-Präsentation</vt:lpstr>
      <vt:lpstr>Scrum in our project (1)</vt:lpstr>
      <vt:lpstr>Scrum in our project (2)</vt:lpstr>
      <vt:lpstr>Contents</vt:lpstr>
      <vt:lpstr>Agenda:   - strict timing of activities     (restriction to a semester: 16 weeks)  - extended by documentation of activities,      agreements, discussions </vt:lpstr>
      <vt:lpstr>Agenda: Deadlines, Tasks, Topics, Documents</vt:lpstr>
      <vt:lpstr>PowerPoint-Präsentation</vt:lpstr>
      <vt:lpstr>Results</vt:lpstr>
      <vt:lpstr>Representation of routes by timelines, textual description and GoogleMaps</vt:lpstr>
      <vt:lpstr>Services included …</vt:lpstr>
      <vt:lpstr>Contents</vt:lpstr>
      <vt:lpstr>Final public presentation …</vt:lpstr>
      <vt:lpstr>Conclusions by our team</vt:lpstr>
      <vt:lpstr>Workload</vt:lpstr>
      <vt:lpstr>Thank you for atten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othe</dc:creator>
  <cp:lastModifiedBy>bothe</cp:lastModifiedBy>
  <cp:revision>503</cp:revision>
  <dcterms:created xsi:type="dcterms:W3CDTF">1601-01-01T00:00:00Z</dcterms:created>
  <dcterms:modified xsi:type="dcterms:W3CDTF">2015-08-25T20:47:57Z</dcterms:modified>
</cp:coreProperties>
</file>